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mov" ContentType="video/quicktime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722" r:id="rId4"/>
  </p:sldMasterIdLst>
  <p:notesMasterIdLst>
    <p:notesMasterId r:id="rId23"/>
  </p:notesMasterIdLst>
  <p:handoutMasterIdLst>
    <p:handoutMasterId r:id="rId24"/>
  </p:handoutMasterIdLst>
  <p:sldIdLst>
    <p:sldId id="256" r:id="rId5"/>
    <p:sldId id="2147376623" r:id="rId6"/>
    <p:sldId id="2147376778" r:id="rId7"/>
    <p:sldId id="2147376620" r:id="rId8"/>
    <p:sldId id="2147376779" r:id="rId9"/>
    <p:sldId id="286" r:id="rId10"/>
    <p:sldId id="2147376773" r:id="rId11"/>
    <p:sldId id="2147376775" r:id="rId12"/>
    <p:sldId id="2147376777" r:id="rId13"/>
    <p:sldId id="2147376625" r:id="rId14"/>
    <p:sldId id="284" r:id="rId15"/>
    <p:sldId id="2147376747" r:id="rId16"/>
    <p:sldId id="2147376748" r:id="rId17"/>
    <p:sldId id="2147376780" r:id="rId18"/>
    <p:sldId id="2147376781" r:id="rId19"/>
    <p:sldId id="2147376783" r:id="rId20"/>
    <p:sldId id="2147376784" r:id="rId21"/>
    <p:sldId id="2147376785" r:id="rId22"/>
  </p:sldIdLst>
  <p:sldSz cx="12192000" cy="6858000"/>
  <p:notesSz cx="6858000" cy="9144000"/>
  <p:embeddedFontLst>
    <p:embeddedFont>
      <p:font typeface="Cambria Math" panose="02040503050406030204" pitchFamily="18" charset="0"/>
      <p:regular r:id="rId25"/>
    </p:embeddedFont>
    <p:embeddedFont>
      <p:font typeface="Century Gothic" panose="020B0502020202020204" pitchFamily="34" charset="0"/>
      <p:regular r:id="rId26"/>
      <p:bold r:id="rId27"/>
      <p:italic r:id="rId28"/>
      <p:boldItalic r:id="rId29"/>
    </p:embeddedFont>
    <p:embeddedFont>
      <p:font typeface="Inter" panose="020F0502020204030204" pitchFamily="34" charset="0"/>
      <p:regular r:id="rId30"/>
      <p:bold r:id="rId31"/>
    </p:embeddedFont>
    <p:embeddedFont>
      <p:font typeface="Inter ExtraBold" panose="020F0502020204030204" pitchFamily="34" charset="0"/>
      <p:bold r:id="rId32"/>
    </p:embeddedFont>
    <p:embeddedFont>
      <p:font typeface="Radion" panose="020B0502030000000004" pitchFamily="34" charset="0"/>
      <p:regular r:id="rId33"/>
      <p:bold r:id="rId34"/>
      <p:italic r:id="rId35"/>
      <p:boldItalic r:id="rId36"/>
    </p:embeddedFont>
    <p:embeddedFont>
      <p:font typeface="Radion B" panose="020B0502030000000004" pitchFamily="34" charset="0"/>
      <p:regular r:id="rId37"/>
      <p:bold r:id="rId38"/>
      <p:italic r:id="rId39"/>
      <p:boldItalic r:id="rId40"/>
    </p:embeddedFont>
    <p:embeddedFont>
      <p:font typeface="Radion B Book" panose="020B0502030000000004" pitchFamily="34" charset="0"/>
      <p:regular r:id="rId41"/>
      <p:italic r:id="rId42"/>
    </p:embeddedFont>
    <p:embeddedFont>
      <p:font typeface="Radion B Demi" panose="020B0502030000000004" pitchFamily="34" charset="0"/>
      <p:regular r:id="rId43"/>
      <p:bold r:id="rId44"/>
      <p:italic r:id="rId45"/>
      <p:boldItalic r:id="rId46"/>
    </p:embeddedFont>
    <p:embeddedFont>
      <p:font typeface="Radion B Light" panose="020B0402030000000004" pitchFamily="34" charset="0"/>
      <p:regular r:id="rId47"/>
      <p:italic r:id="rId48"/>
    </p:embeddedFont>
    <p:embeddedFont>
      <p:font typeface="Radion B Thin" panose="020B0302030000000004" pitchFamily="34" charset="0"/>
      <p:regular r:id="rId49"/>
      <p:italic r:id="rId50"/>
    </p:embeddedFont>
  </p:embeddedFontLst>
  <p:custDataLst>
    <p:tags r:id="rId51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44B6264-ECCC-F3B5-6B22-E35CBF22FB72}" name="Shengtao Wang" initials="SW" userId="S::swang@quera.com::aa26e7d5-efc2-4234-bf59-aee2d70ba93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CF9FF"/>
    <a:srgbClr val="F0F0F0"/>
    <a:srgbClr val="333333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27BE64E-045D-F74A-AD55-372185734032}" v="19" dt="2024-01-09T17:28:45.276"/>
  </p1510:revLst>
</p1510:revInfo>
</file>

<file path=ppt/tableStyles.xml><?xml version="1.0" encoding="utf-8"?>
<a:tblStyleLst xmlns:a="http://schemas.openxmlformats.org/drawingml/2006/main" def="{21E4AEA4-8DFA-4A89-87EB-49C32662AFE0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317"/>
    <p:restoredTop sz="94715"/>
  </p:normalViewPr>
  <p:slideViewPr>
    <p:cSldViewPr snapToGrid="0">
      <p:cViewPr varScale="1">
        <p:scale>
          <a:sx n="100" d="100"/>
          <a:sy n="100" d="100"/>
        </p:scale>
        <p:origin x="1480" y="16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68" d="100"/>
          <a:sy n="168" d="100"/>
        </p:scale>
        <p:origin x="543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2.fntdata"/><Relationship Id="rId39" Type="http://schemas.openxmlformats.org/officeDocument/2006/relationships/font" Target="fonts/font15.fntdata"/><Relationship Id="rId21" Type="http://schemas.openxmlformats.org/officeDocument/2006/relationships/slide" Target="slides/slide17.xml"/><Relationship Id="rId34" Type="http://schemas.openxmlformats.org/officeDocument/2006/relationships/font" Target="fonts/font10.fntdata"/><Relationship Id="rId42" Type="http://schemas.openxmlformats.org/officeDocument/2006/relationships/font" Target="fonts/font18.fntdata"/><Relationship Id="rId47" Type="http://schemas.openxmlformats.org/officeDocument/2006/relationships/font" Target="fonts/font23.fntdata"/><Relationship Id="rId50" Type="http://schemas.openxmlformats.org/officeDocument/2006/relationships/font" Target="fonts/font26.fntdata"/><Relationship Id="rId55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font" Target="fonts/font5.fntdata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32" Type="http://schemas.openxmlformats.org/officeDocument/2006/relationships/font" Target="fonts/font8.fntdata"/><Relationship Id="rId37" Type="http://schemas.openxmlformats.org/officeDocument/2006/relationships/font" Target="fonts/font13.fntdata"/><Relationship Id="rId40" Type="http://schemas.openxmlformats.org/officeDocument/2006/relationships/font" Target="fonts/font16.fntdata"/><Relationship Id="rId45" Type="http://schemas.openxmlformats.org/officeDocument/2006/relationships/font" Target="fonts/font21.fntdata"/><Relationship Id="rId53" Type="http://schemas.openxmlformats.org/officeDocument/2006/relationships/viewProps" Target="viewProps.xml"/><Relationship Id="rId58" Type="http://schemas.microsoft.com/office/2018/10/relationships/authors" Target="authors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font" Target="fonts/font3.fntdata"/><Relationship Id="rId30" Type="http://schemas.openxmlformats.org/officeDocument/2006/relationships/font" Target="fonts/font6.fntdata"/><Relationship Id="rId35" Type="http://schemas.openxmlformats.org/officeDocument/2006/relationships/font" Target="fonts/font11.fntdata"/><Relationship Id="rId43" Type="http://schemas.openxmlformats.org/officeDocument/2006/relationships/font" Target="fonts/font19.fntdata"/><Relationship Id="rId48" Type="http://schemas.openxmlformats.org/officeDocument/2006/relationships/font" Target="fonts/font24.fntdata"/><Relationship Id="rId56" Type="http://schemas.microsoft.com/office/2016/11/relationships/changesInfo" Target="changesInfos/changesInfo1.xml"/><Relationship Id="rId8" Type="http://schemas.openxmlformats.org/officeDocument/2006/relationships/slide" Target="slides/slide4.xml"/><Relationship Id="rId51" Type="http://schemas.openxmlformats.org/officeDocument/2006/relationships/tags" Target="tags/tag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1.fntdata"/><Relationship Id="rId33" Type="http://schemas.openxmlformats.org/officeDocument/2006/relationships/font" Target="fonts/font9.fntdata"/><Relationship Id="rId38" Type="http://schemas.openxmlformats.org/officeDocument/2006/relationships/font" Target="fonts/font14.fntdata"/><Relationship Id="rId46" Type="http://schemas.openxmlformats.org/officeDocument/2006/relationships/font" Target="fonts/font22.fntdata"/><Relationship Id="rId20" Type="http://schemas.openxmlformats.org/officeDocument/2006/relationships/slide" Target="slides/slide16.xml"/><Relationship Id="rId41" Type="http://schemas.openxmlformats.org/officeDocument/2006/relationships/font" Target="fonts/font17.fntdata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font" Target="fonts/font4.fntdata"/><Relationship Id="rId36" Type="http://schemas.openxmlformats.org/officeDocument/2006/relationships/font" Target="fonts/font12.fntdata"/><Relationship Id="rId49" Type="http://schemas.openxmlformats.org/officeDocument/2006/relationships/font" Target="fonts/font25.fntdata"/><Relationship Id="rId57" Type="http://schemas.microsoft.com/office/2015/10/relationships/revisionInfo" Target="revisionInfo.xml"/><Relationship Id="rId10" Type="http://schemas.openxmlformats.org/officeDocument/2006/relationships/slide" Target="slides/slide6.xml"/><Relationship Id="rId31" Type="http://schemas.openxmlformats.org/officeDocument/2006/relationships/font" Target="fonts/font7.fntdata"/><Relationship Id="rId44" Type="http://schemas.openxmlformats.org/officeDocument/2006/relationships/font" Target="fonts/font20.fntdata"/><Relationship Id="rId52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edro Lopes" userId="40e56e32-8db9-4762-81b5-b0f12e13e658" providerId="ADAL" clId="{09B4E101-BC4C-7744-A223-F5390F68F23C}"/>
    <pc:docChg chg="custSel addSld delSld modSld sldOrd">
      <pc:chgData name="Pedro Lopes" userId="40e56e32-8db9-4762-81b5-b0f12e13e658" providerId="ADAL" clId="{09B4E101-BC4C-7744-A223-F5390F68F23C}" dt="2023-03-27T14:51:41.514" v="334" actId="20577"/>
      <pc:docMkLst>
        <pc:docMk/>
      </pc:docMkLst>
      <pc:sldChg chg="del">
        <pc:chgData name="Pedro Lopes" userId="40e56e32-8db9-4762-81b5-b0f12e13e658" providerId="ADAL" clId="{09B4E101-BC4C-7744-A223-F5390F68F23C}" dt="2023-03-27T14:51:19.738" v="315" actId="2696"/>
        <pc:sldMkLst>
          <pc:docMk/>
          <pc:sldMk cId="2027033434" sldId="262"/>
        </pc:sldMkLst>
      </pc:sldChg>
      <pc:sldChg chg="add del">
        <pc:chgData name="Pedro Lopes" userId="40e56e32-8db9-4762-81b5-b0f12e13e658" providerId="ADAL" clId="{09B4E101-BC4C-7744-A223-F5390F68F23C}" dt="2023-03-23T20:47:17.985" v="2" actId="2696"/>
        <pc:sldMkLst>
          <pc:docMk/>
          <pc:sldMk cId="714605557" sldId="268"/>
        </pc:sldMkLst>
      </pc:sldChg>
      <pc:sldChg chg="del">
        <pc:chgData name="Pedro Lopes" userId="40e56e32-8db9-4762-81b5-b0f12e13e658" providerId="ADAL" clId="{09B4E101-BC4C-7744-A223-F5390F68F23C}" dt="2023-03-23T20:46:48.622" v="0" actId="2696"/>
        <pc:sldMkLst>
          <pc:docMk/>
          <pc:sldMk cId="1235042909" sldId="268"/>
        </pc:sldMkLst>
      </pc:sldChg>
      <pc:sldChg chg="del">
        <pc:chgData name="Pedro Lopes" userId="40e56e32-8db9-4762-81b5-b0f12e13e658" providerId="ADAL" clId="{09B4E101-BC4C-7744-A223-F5390F68F23C}" dt="2023-03-27T14:51:19.755" v="319" actId="2696"/>
        <pc:sldMkLst>
          <pc:docMk/>
          <pc:sldMk cId="3031544202" sldId="273"/>
        </pc:sldMkLst>
      </pc:sldChg>
      <pc:sldChg chg="add">
        <pc:chgData name="Pedro Lopes" userId="40e56e32-8db9-4762-81b5-b0f12e13e658" providerId="ADAL" clId="{09B4E101-BC4C-7744-A223-F5390F68F23C}" dt="2023-03-27T14:24:17.771" v="291"/>
        <pc:sldMkLst>
          <pc:docMk/>
          <pc:sldMk cId="199279220" sldId="280"/>
        </pc:sldMkLst>
      </pc:sldChg>
      <pc:sldChg chg="del">
        <pc:chgData name="Pedro Lopes" userId="40e56e32-8db9-4762-81b5-b0f12e13e658" providerId="ADAL" clId="{09B4E101-BC4C-7744-A223-F5390F68F23C}" dt="2023-03-23T20:46:48.622" v="0" actId="2696"/>
        <pc:sldMkLst>
          <pc:docMk/>
          <pc:sldMk cId="1880324109" sldId="280"/>
        </pc:sldMkLst>
      </pc:sldChg>
      <pc:sldChg chg="add del">
        <pc:chgData name="Pedro Lopes" userId="40e56e32-8db9-4762-81b5-b0f12e13e658" providerId="ADAL" clId="{09B4E101-BC4C-7744-A223-F5390F68F23C}" dt="2023-03-27T14:17:05.363" v="89" actId="2696"/>
        <pc:sldMkLst>
          <pc:docMk/>
          <pc:sldMk cId="3364480316" sldId="280"/>
        </pc:sldMkLst>
      </pc:sldChg>
      <pc:sldChg chg="ord">
        <pc:chgData name="Pedro Lopes" userId="40e56e32-8db9-4762-81b5-b0f12e13e658" providerId="ADAL" clId="{09B4E101-BC4C-7744-A223-F5390F68F23C}" dt="2023-03-27T14:20:34.677" v="194" actId="20578"/>
        <pc:sldMkLst>
          <pc:docMk/>
          <pc:sldMk cId="1323474603" sldId="284"/>
        </pc:sldMkLst>
      </pc:sldChg>
      <pc:sldChg chg="del">
        <pc:chgData name="Pedro Lopes" userId="40e56e32-8db9-4762-81b5-b0f12e13e658" providerId="ADAL" clId="{09B4E101-BC4C-7744-A223-F5390F68F23C}" dt="2023-03-27T14:51:19.673" v="310" actId="2696"/>
        <pc:sldMkLst>
          <pc:docMk/>
          <pc:sldMk cId="3353434078" sldId="285"/>
        </pc:sldMkLst>
      </pc:sldChg>
      <pc:sldChg chg="del">
        <pc:chgData name="Pedro Lopes" userId="40e56e32-8db9-4762-81b5-b0f12e13e658" providerId="ADAL" clId="{09B4E101-BC4C-7744-A223-F5390F68F23C}" dt="2023-03-23T20:46:48.622" v="0" actId="2696"/>
        <pc:sldMkLst>
          <pc:docMk/>
          <pc:sldMk cId="240754738" sldId="286"/>
        </pc:sldMkLst>
      </pc:sldChg>
      <pc:sldChg chg="add">
        <pc:chgData name="Pedro Lopes" userId="40e56e32-8db9-4762-81b5-b0f12e13e658" providerId="ADAL" clId="{09B4E101-BC4C-7744-A223-F5390F68F23C}" dt="2023-03-23T20:46:52.722" v="1"/>
        <pc:sldMkLst>
          <pc:docMk/>
          <pc:sldMk cId="4283568258" sldId="286"/>
        </pc:sldMkLst>
      </pc:sldChg>
      <pc:sldChg chg="del">
        <pc:chgData name="Pedro Lopes" userId="40e56e32-8db9-4762-81b5-b0f12e13e658" providerId="ADAL" clId="{09B4E101-BC4C-7744-A223-F5390F68F23C}" dt="2023-03-27T14:51:19.751" v="318" actId="2696"/>
        <pc:sldMkLst>
          <pc:docMk/>
          <pc:sldMk cId="3608864796" sldId="288"/>
        </pc:sldMkLst>
      </pc:sldChg>
      <pc:sldChg chg="delSp modSp mod delAnim modAnim">
        <pc:chgData name="Pedro Lopes" userId="40e56e32-8db9-4762-81b5-b0f12e13e658" providerId="ADAL" clId="{09B4E101-BC4C-7744-A223-F5390F68F23C}" dt="2023-03-27T14:25:56.663" v="308"/>
        <pc:sldMkLst>
          <pc:docMk/>
          <pc:sldMk cId="237544605" sldId="292"/>
        </pc:sldMkLst>
        <pc:spChg chg="mod">
          <ac:chgData name="Pedro Lopes" userId="40e56e32-8db9-4762-81b5-b0f12e13e658" providerId="ADAL" clId="{09B4E101-BC4C-7744-A223-F5390F68F23C}" dt="2023-03-27T14:25:22.028" v="301" actId="20577"/>
          <ac:spMkLst>
            <pc:docMk/>
            <pc:sldMk cId="237544605" sldId="292"/>
            <ac:spMk id="6" creationId="{07290D52-CF77-A427-6486-155B0C6BC536}"/>
          </ac:spMkLst>
        </pc:spChg>
        <pc:spChg chg="del">
          <ac:chgData name="Pedro Lopes" userId="40e56e32-8db9-4762-81b5-b0f12e13e658" providerId="ADAL" clId="{09B4E101-BC4C-7744-A223-F5390F68F23C}" dt="2023-03-27T14:25:29.306" v="303" actId="478"/>
          <ac:spMkLst>
            <pc:docMk/>
            <pc:sldMk cId="237544605" sldId="292"/>
            <ac:spMk id="7" creationId="{C39D4EC5-E80A-9799-65D3-55881576D329}"/>
          </ac:spMkLst>
        </pc:spChg>
        <pc:spChg chg="del">
          <ac:chgData name="Pedro Lopes" userId="40e56e32-8db9-4762-81b5-b0f12e13e658" providerId="ADAL" clId="{09B4E101-BC4C-7744-A223-F5390F68F23C}" dt="2023-03-27T14:25:24.376" v="302" actId="478"/>
          <ac:spMkLst>
            <pc:docMk/>
            <pc:sldMk cId="237544605" sldId="292"/>
            <ac:spMk id="8" creationId="{4A52820A-40AA-5E45-ABB4-2D77F36388C6}"/>
          </ac:spMkLst>
        </pc:spChg>
      </pc:sldChg>
      <pc:sldChg chg="add del">
        <pc:chgData name="Pedro Lopes" userId="40e56e32-8db9-4762-81b5-b0f12e13e658" providerId="ADAL" clId="{09B4E101-BC4C-7744-A223-F5390F68F23C}" dt="2023-03-23T20:51:06.002" v="3" actId="2696"/>
        <pc:sldMkLst>
          <pc:docMk/>
          <pc:sldMk cId="1313032872" sldId="299"/>
        </pc:sldMkLst>
      </pc:sldChg>
      <pc:sldChg chg="del">
        <pc:chgData name="Pedro Lopes" userId="40e56e32-8db9-4762-81b5-b0f12e13e658" providerId="ADAL" clId="{09B4E101-BC4C-7744-A223-F5390F68F23C}" dt="2023-03-23T20:46:48.622" v="0" actId="2696"/>
        <pc:sldMkLst>
          <pc:docMk/>
          <pc:sldMk cId="1540789823" sldId="299"/>
        </pc:sldMkLst>
      </pc:sldChg>
      <pc:sldChg chg="del">
        <pc:chgData name="Pedro Lopes" userId="40e56e32-8db9-4762-81b5-b0f12e13e658" providerId="ADAL" clId="{09B4E101-BC4C-7744-A223-F5390F68F23C}" dt="2023-03-27T14:51:19.734" v="314" actId="2696"/>
        <pc:sldMkLst>
          <pc:docMk/>
          <pc:sldMk cId="1131707" sldId="338"/>
        </pc:sldMkLst>
      </pc:sldChg>
      <pc:sldChg chg="modSp add mod">
        <pc:chgData name="Pedro Lopes" userId="40e56e32-8db9-4762-81b5-b0f12e13e658" providerId="ADAL" clId="{09B4E101-BC4C-7744-A223-F5390F68F23C}" dt="2023-03-27T14:20:04.302" v="192" actId="20577"/>
        <pc:sldMkLst>
          <pc:docMk/>
          <pc:sldMk cId="1184522372" sldId="2147376620"/>
        </pc:sldMkLst>
        <pc:spChg chg="mod">
          <ac:chgData name="Pedro Lopes" userId="40e56e32-8db9-4762-81b5-b0f12e13e658" providerId="ADAL" clId="{09B4E101-BC4C-7744-A223-F5390F68F23C}" dt="2023-03-27T14:20:04.302" v="192" actId="20577"/>
          <ac:spMkLst>
            <pc:docMk/>
            <pc:sldMk cId="1184522372" sldId="2147376620"/>
            <ac:spMk id="26" creationId="{EDC3B657-E00A-89C8-73E8-AFBCE7181A40}"/>
          </ac:spMkLst>
        </pc:spChg>
      </pc:sldChg>
      <pc:sldChg chg="del">
        <pc:chgData name="Pedro Lopes" userId="40e56e32-8db9-4762-81b5-b0f12e13e658" providerId="ADAL" clId="{09B4E101-BC4C-7744-A223-F5390F68F23C}" dt="2023-03-23T20:46:48.622" v="0" actId="2696"/>
        <pc:sldMkLst>
          <pc:docMk/>
          <pc:sldMk cId="1920654324" sldId="2147376620"/>
        </pc:sldMkLst>
      </pc:sldChg>
      <pc:sldChg chg="del">
        <pc:chgData name="Pedro Lopes" userId="40e56e32-8db9-4762-81b5-b0f12e13e658" providerId="ADAL" clId="{09B4E101-BC4C-7744-A223-F5390F68F23C}" dt="2023-03-23T20:46:48.622" v="0" actId="2696"/>
        <pc:sldMkLst>
          <pc:docMk/>
          <pc:sldMk cId="474506798" sldId="2147376625"/>
        </pc:sldMkLst>
      </pc:sldChg>
      <pc:sldChg chg="addSp modSp add mod modAnim">
        <pc:chgData name="Pedro Lopes" userId="40e56e32-8db9-4762-81b5-b0f12e13e658" providerId="ADAL" clId="{09B4E101-BC4C-7744-A223-F5390F68F23C}" dt="2023-03-24T11:49:11.137" v="88"/>
        <pc:sldMkLst>
          <pc:docMk/>
          <pc:sldMk cId="2479261159" sldId="2147376625"/>
        </pc:sldMkLst>
        <pc:spChg chg="add mod">
          <ac:chgData name="Pedro Lopes" userId="40e56e32-8db9-4762-81b5-b0f12e13e658" providerId="ADAL" clId="{09B4E101-BC4C-7744-A223-F5390F68F23C}" dt="2023-03-23T20:54:18.329" v="77" actId="207"/>
          <ac:spMkLst>
            <pc:docMk/>
            <pc:sldMk cId="2479261159" sldId="2147376625"/>
            <ac:spMk id="2" creationId="{26CD0B74-90BF-FB05-B2EA-B91FC1DE271E}"/>
          </ac:spMkLst>
        </pc:spChg>
        <pc:spChg chg="add mod">
          <ac:chgData name="Pedro Lopes" userId="40e56e32-8db9-4762-81b5-b0f12e13e658" providerId="ADAL" clId="{09B4E101-BC4C-7744-A223-F5390F68F23C}" dt="2023-03-23T20:54:14.471" v="76" actId="207"/>
          <ac:spMkLst>
            <pc:docMk/>
            <pc:sldMk cId="2479261159" sldId="2147376625"/>
            <ac:spMk id="6" creationId="{8F8B984C-F598-E51E-7524-94B7271FC493}"/>
          </ac:spMkLst>
        </pc:spChg>
        <pc:spChg chg="add mod">
          <ac:chgData name="Pedro Lopes" userId="40e56e32-8db9-4762-81b5-b0f12e13e658" providerId="ADAL" clId="{09B4E101-BC4C-7744-A223-F5390F68F23C}" dt="2023-03-23T20:54:03.215" v="74" actId="208"/>
          <ac:spMkLst>
            <pc:docMk/>
            <pc:sldMk cId="2479261159" sldId="2147376625"/>
            <ac:spMk id="7" creationId="{A4E77B41-3D90-AF3E-C8AE-614117FFFBE9}"/>
          </ac:spMkLst>
        </pc:spChg>
        <pc:grpChg chg="add">
          <ac:chgData name="Pedro Lopes" userId="40e56e32-8db9-4762-81b5-b0f12e13e658" providerId="ADAL" clId="{09B4E101-BC4C-7744-A223-F5390F68F23C}" dt="2023-03-23T20:55:07.499" v="87" actId="164"/>
          <ac:grpSpMkLst>
            <pc:docMk/>
            <pc:sldMk cId="2479261159" sldId="2147376625"/>
            <ac:grpSpMk id="16" creationId="{0A87FCF4-D89A-6940-E84B-E40F737C7E88}"/>
          </ac:grpSpMkLst>
        </pc:grpChg>
        <pc:picChg chg="mod">
          <ac:chgData name="Pedro Lopes" userId="40e56e32-8db9-4762-81b5-b0f12e13e658" providerId="ADAL" clId="{09B4E101-BC4C-7744-A223-F5390F68F23C}" dt="2023-03-23T20:53:30.394" v="70" actId="171"/>
          <ac:picMkLst>
            <pc:docMk/>
            <pc:sldMk cId="2479261159" sldId="2147376625"/>
            <ac:picMk id="3" creationId="{DD489DDD-83F0-45A2-DD5C-0106E8DFFD5C}"/>
          </ac:picMkLst>
        </pc:picChg>
        <pc:cxnChg chg="add mod">
          <ac:chgData name="Pedro Lopes" userId="40e56e32-8db9-4762-81b5-b0f12e13e658" providerId="ADAL" clId="{09B4E101-BC4C-7744-A223-F5390F68F23C}" dt="2023-03-23T20:54:54.307" v="86" actId="1582"/>
          <ac:cxnSpMkLst>
            <pc:docMk/>
            <pc:sldMk cId="2479261159" sldId="2147376625"/>
            <ac:cxnSpMk id="9" creationId="{2EF36AEB-AB42-9A2E-3200-088EFF3D656F}"/>
          </ac:cxnSpMkLst>
        </pc:cxnChg>
        <pc:cxnChg chg="add mod">
          <ac:chgData name="Pedro Lopes" userId="40e56e32-8db9-4762-81b5-b0f12e13e658" providerId="ADAL" clId="{09B4E101-BC4C-7744-A223-F5390F68F23C}" dt="2023-03-23T20:54:54.307" v="86" actId="1582"/>
          <ac:cxnSpMkLst>
            <pc:docMk/>
            <pc:sldMk cId="2479261159" sldId="2147376625"/>
            <ac:cxnSpMk id="10" creationId="{E15E2F92-BC42-DDB1-7943-9920724EEDFB}"/>
          </ac:cxnSpMkLst>
        </pc:cxnChg>
        <pc:cxnChg chg="add mod">
          <ac:chgData name="Pedro Lopes" userId="40e56e32-8db9-4762-81b5-b0f12e13e658" providerId="ADAL" clId="{09B4E101-BC4C-7744-A223-F5390F68F23C}" dt="2023-03-23T20:54:54.307" v="86" actId="1582"/>
          <ac:cxnSpMkLst>
            <pc:docMk/>
            <pc:sldMk cId="2479261159" sldId="2147376625"/>
            <ac:cxnSpMk id="13" creationId="{3C614D09-4E20-34EF-4273-08896827B347}"/>
          </ac:cxnSpMkLst>
        </pc:cxnChg>
      </pc:sldChg>
      <pc:sldChg chg="del">
        <pc:chgData name="Pedro Lopes" userId="40e56e32-8db9-4762-81b5-b0f12e13e658" providerId="ADAL" clId="{09B4E101-BC4C-7744-A223-F5390F68F23C}" dt="2023-03-23T20:46:48.622" v="0" actId="2696"/>
        <pc:sldMkLst>
          <pc:docMk/>
          <pc:sldMk cId="1361064718" sldId="2147376626"/>
        </pc:sldMkLst>
      </pc:sldChg>
      <pc:sldChg chg="add del">
        <pc:chgData name="Pedro Lopes" userId="40e56e32-8db9-4762-81b5-b0f12e13e658" providerId="ADAL" clId="{09B4E101-BC4C-7744-A223-F5390F68F23C}" dt="2023-03-23T20:51:10.307" v="4" actId="2696"/>
        <pc:sldMkLst>
          <pc:docMk/>
          <pc:sldMk cId="3368224898" sldId="2147376626"/>
        </pc:sldMkLst>
      </pc:sldChg>
      <pc:sldChg chg="ord">
        <pc:chgData name="Pedro Lopes" userId="40e56e32-8db9-4762-81b5-b0f12e13e658" providerId="ADAL" clId="{09B4E101-BC4C-7744-A223-F5390F68F23C}" dt="2023-03-27T14:20:27.774" v="193" actId="20578"/>
        <pc:sldMkLst>
          <pc:docMk/>
          <pc:sldMk cId="747835074" sldId="2147376629"/>
        </pc:sldMkLst>
      </pc:sldChg>
      <pc:sldChg chg="del">
        <pc:chgData name="Pedro Lopes" userId="40e56e32-8db9-4762-81b5-b0f12e13e658" providerId="ADAL" clId="{09B4E101-BC4C-7744-A223-F5390F68F23C}" dt="2023-03-27T14:51:19.748" v="317" actId="2696"/>
        <pc:sldMkLst>
          <pc:docMk/>
          <pc:sldMk cId="1174310382" sldId="2147376632"/>
        </pc:sldMkLst>
      </pc:sldChg>
      <pc:sldChg chg="del">
        <pc:chgData name="Pedro Lopes" userId="40e56e32-8db9-4762-81b5-b0f12e13e658" providerId="ADAL" clId="{09B4E101-BC4C-7744-A223-F5390F68F23C}" dt="2023-03-27T14:51:19.784" v="320" actId="2696"/>
        <pc:sldMkLst>
          <pc:docMk/>
          <pc:sldMk cId="187217567" sldId="2147376633"/>
        </pc:sldMkLst>
      </pc:sldChg>
      <pc:sldChg chg="del">
        <pc:chgData name="Pedro Lopes" userId="40e56e32-8db9-4762-81b5-b0f12e13e658" providerId="ADAL" clId="{09B4E101-BC4C-7744-A223-F5390F68F23C}" dt="2023-03-27T14:51:19.725" v="312" actId="2696"/>
        <pc:sldMkLst>
          <pc:docMk/>
          <pc:sldMk cId="3287849586" sldId="2147376634"/>
        </pc:sldMkLst>
      </pc:sldChg>
      <pc:sldChg chg="del">
        <pc:chgData name="Pedro Lopes" userId="40e56e32-8db9-4762-81b5-b0f12e13e658" providerId="ADAL" clId="{09B4E101-BC4C-7744-A223-F5390F68F23C}" dt="2023-03-27T14:51:19.842" v="321" actId="2696"/>
        <pc:sldMkLst>
          <pc:docMk/>
          <pc:sldMk cId="950392072" sldId="2147376637"/>
        </pc:sldMkLst>
      </pc:sldChg>
      <pc:sldChg chg="del">
        <pc:chgData name="Pedro Lopes" userId="40e56e32-8db9-4762-81b5-b0f12e13e658" providerId="ADAL" clId="{09B4E101-BC4C-7744-A223-F5390F68F23C}" dt="2023-03-23T20:46:48.622" v="0" actId="2696"/>
        <pc:sldMkLst>
          <pc:docMk/>
          <pc:sldMk cId="128996019" sldId="2147376737"/>
        </pc:sldMkLst>
      </pc:sldChg>
      <pc:sldChg chg="add">
        <pc:chgData name="Pedro Lopes" userId="40e56e32-8db9-4762-81b5-b0f12e13e658" providerId="ADAL" clId="{09B4E101-BC4C-7744-A223-F5390F68F23C}" dt="2023-03-27T14:24:17.771" v="291"/>
        <pc:sldMkLst>
          <pc:docMk/>
          <pc:sldMk cId="1754509754" sldId="2147376737"/>
        </pc:sldMkLst>
      </pc:sldChg>
      <pc:sldChg chg="add del">
        <pc:chgData name="Pedro Lopes" userId="40e56e32-8db9-4762-81b5-b0f12e13e658" providerId="ADAL" clId="{09B4E101-BC4C-7744-A223-F5390F68F23C}" dt="2023-03-27T14:17:19.867" v="90" actId="2696"/>
        <pc:sldMkLst>
          <pc:docMk/>
          <pc:sldMk cId="4020118900" sldId="2147376737"/>
        </pc:sldMkLst>
      </pc:sldChg>
      <pc:sldChg chg="add">
        <pc:chgData name="Pedro Lopes" userId="40e56e32-8db9-4762-81b5-b0f12e13e658" providerId="ADAL" clId="{09B4E101-BC4C-7744-A223-F5390F68F23C}" dt="2023-03-23T20:46:52.722" v="1"/>
        <pc:sldMkLst>
          <pc:docMk/>
          <pc:sldMk cId="1418418350" sldId="2147376741"/>
        </pc:sldMkLst>
      </pc:sldChg>
      <pc:sldChg chg="del">
        <pc:chgData name="Pedro Lopes" userId="40e56e32-8db9-4762-81b5-b0f12e13e658" providerId="ADAL" clId="{09B4E101-BC4C-7744-A223-F5390F68F23C}" dt="2023-03-23T20:46:48.622" v="0" actId="2696"/>
        <pc:sldMkLst>
          <pc:docMk/>
          <pc:sldMk cId="4170772385" sldId="2147376741"/>
        </pc:sldMkLst>
      </pc:sldChg>
      <pc:sldChg chg="add">
        <pc:chgData name="Pedro Lopes" userId="40e56e32-8db9-4762-81b5-b0f12e13e658" providerId="ADAL" clId="{09B4E101-BC4C-7744-A223-F5390F68F23C}" dt="2023-03-23T20:46:52.722" v="1"/>
        <pc:sldMkLst>
          <pc:docMk/>
          <pc:sldMk cId="12790098" sldId="2147376742"/>
        </pc:sldMkLst>
      </pc:sldChg>
      <pc:sldChg chg="del">
        <pc:chgData name="Pedro Lopes" userId="40e56e32-8db9-4762-81b5-b0f12e13e658" providerId="ADAL" clId="{09B4E101-BC4C-7744-A223-F5390F68F23C}" dt="2023-03-23T20:46:48.622" v="0" actId="2696"/>
        <pc:sldMkLst>
          <pc:docMk/>
          <pc:sldMk cId="3792154237" sldId="2147376742"/>
        </pc:sldMkLst>
      </pc:sldChg>
      <pc:sldChg chg="del">
        <pc:chgData name="Pedro Lopes" userId="40e56e32-8db9-4762-81b5-b0f12e13e658" providerId="ADAL" clId="{09B4E101-BC4C-7744-A223-F5390F68F23C}" dt="2023-03-27T14:51:19.625" v="309" actId="2696"/>
        <pc:sldMkLst>
          <pc:docMk/>
          <pc:sldMk cId="3868672446" sldId="2147376743"/>
        </pc:sldMkLst>
      </pc:sldChg>
      <pc:sldChg chg="del">
        <pc:chgData name="Pedro Lopes" userId="40e56e32-8db9-4762-81b5-b0f12e13e658" providerId="ADAL" clId="{09B4E101-BC4C-7744-A223-F5390F68F23C}" dt="2023-03-27T14:51:19.731" v="313" actId="2696"/>
        <pc:sldMkLst>
          <pc:docMk/>
          <pc:sldMk cId="4237627007" sldId="2147376744"/>
        </pc:sldMkLst>
      </pc:sldChg>
      <pc:sldChg chg="del">
        <pc:chgData name="Pedro Lopes" userId="40e56e32-8db9-4762-81b5-b0f12e13e658" providerId="ADAL" clId="{09B4E101-BC4C-7744-A223-F5390F68F23C}" dt="2023-03-27T14:51:19.711" v="311" actId="2696"/>
        <pc:sldMkLst>
          <pc:docMk/>
          <pc:sldMk cId="795818326" sldId="2147376745"/>
        </pc:sldMkLst>
      </pc:sldChg>
      <pc:sldChg chg="del">
        <pc:chgData name="Pedro Lopes" userId="40e56e32-8db9-4762-81b5-b0f12e13e658" providerId="ADAL" clId="{09B4E101-BC4C-7744-A223-F5390F68F23C}" dt="2023-03-27T14:51:19.741" v="316" actId="2696"/>
        <pc:sldMkLst>
          <pc:docMk/>
          <pc:sldMk cId="2025475757" sldId="2147376746"/>
        </pc:sldMkLst>
      </pc:sldChg>
      <pc:sldChg chg="modSp add">
        <pc:chgData name="Pedro Lopes" userId="40e56e32-8db9-4762-81b5-b0f12e13e658" providerId="ADAL" clId="{09B4E101-BC4C-7744-A223-F5390F68F23C}" dt="2023-03-27T14:19:07.296" v="151" actId="20577"/>
        <pc:sldMkLst>
          <pc:docMk/>
          <pc:sldMk cId="1337754654" sldId="2147376747"/>
        </pc:sldMkLst>
        <pc:spChg chg="mod">
          <ac:chgData name="Pedro Lopes" userId="40e56e32-8db9-4762-81b5-b0f12e13e658" providerId="ADAL" clId="{09B4E101-BC4C-7744-A223-F5390F68F23C}" dt="2023-03-27T14:19:07.296" v="151" actId="20577"/>
          <ac:spMkLst>
            <pc:docMk/>
            <pc:sldMk cId="1337754654" sldId="2147376747"/>
            <ac:spMk id="6" creationId="{BC23DE18-ED7F-2D91-BDC8-92EF3DFEDD82}"/>
          </ac:spMkLst>
        </pc:spChg>
      </pc:sldChg>
      <pc:sldChg chg="del">
        <pc:chgData name="Pedro Lopes" userId="40e56e32-8db9-4762-81b5-b0f12e13e658" providerId="ADAL" clId="{09B4E101-BC4C-7744-A223-F5390F68F23C}" dt="2023-03-27T14:18:17.627" v="91" actId="2696"/>
        <pc:sldMkLst>
          <pc:docMk/>
          <pc:sldMk cId="1848142922" sldId="2147376747"/>
        </pc:sldMkLst>
      </pc:sldChg>
      <pc:sldChg chg="modSp mod ord">
        <pc:chgData name="Pedro Lopes" userId="40e56e32-8db9-4762-81b5-b0f12e13e658" providerId="ADAL" clId="{09B4E101-BC4C-7744-A223-F5390F68F23C}" dt="2023-03-27T14:22:40.985" v="290" actId="1076"/>
        <pc:sldMkLst>
          <pc:docMk/>
          <pc:sldMk cId="782010024" sldId="2147376748"/>
        </pc:sldMkLst>
        <pc:spChg chg="mod">
          <ac:chgData name="Pedro Lopes" userId="40e56e32-8db9-4762-81b5-b0f12e13e658" providerId="ADAL" clId="{09B4E101-BC4C-7744-A223-F5390F68F23C}" dt="2023-03-27T14:22:40.985" v="290" actId="1076"/>
          <ac:spMkLst>
            <pc:docMk/>
            <pc:sldMk cId="782010024" sldId="2147376748"/>
            <ac:spMk id="24" creationId="{831C1CAC-CAEC-7335-44F3-28DA4FB5F4BF}"/>
          </ac:spMkLst>
        </pc:spChg>
      </pc:sldChg>
      <pc:sldChg chg="del">
        <pc:chgData name="Pedro Lopes" userId="40e56e32-8db9-4762-81b5-b0f12e13e658" providerId="ADAL" clId="{09B4E101-BC4C-7744-A223-F5390F68F23C}" dt="2023-03-27T14:51:19.848" v="322" actId="2696"/>
        <pc:sldMkLst>
          <pc:docMk/>
          <pc:sldMk cId="2343551199" sldId="2147376749"/>
        </pc:sldMkLst>
      </pc:sldChg>
      <pc:sldChg chg="modSp add">
        <pc:chgData name="Pedro Lopes" userId="40e56e32-8db9-4762-81b5-b0f12e13e658" providerId="ADAL" clId="{09B4E101-BC4C-7744-A223-F5390F68F23C}" dt="2023-03-27T14:51:41.514" v="334" actId="20577"/>
        <pc:sldMkLst>
          <pc:docMk/>
          <pc:sldMk cId="2462203731" sldId="2147376749"/>
        </pc:sldMkLst>
        <pc:spChg chg="mod">
          <ac:chgData name="Pedro Lopes" userId="40e56e32-8db9-4762-81b5-b0f12e13e658" providerId="ADAL" clId="{09B4E101-BC4C-7744-A223-F5390F68F23C}" dt="2023-03-27T14:51:41.514" v="334" actId="20577"/>
          <ac:spMkLst>
            <pc:docMk/>
            <pc:sldMk cId="2462203731" sldId="2147376749"/>
            <ac:spMk id="6" creationId="{07290D52-CF77-A427-6486-155B0C6BC536}"/>
          </ac:spMkLst>
        </pc:spChg>
      </pc:sldChg>
    </pc:docChg>
  </pc:docChgLst>
  <pc:docChgLst>
    <pc:chgData name="Pedro Lopes" userId="40e56e32-8db9-4762-81b5-b0f12e13e658" providerId="ADAL" clId="{927BE64E-045D-F74A-AD55-372185734032}"/>
    <pc:docChg chg="undo custSel addSld delSld modSld sldOrd">
      <pc:chgData name="Pedro Lopes" userId="40e56e32-8db9-4762-81b5-b0f12e13e658" providerId="ADAL" clId="{927BE64E-045D-F74A-AD55-372185734032}" dt="2024-01-23T17:31:58.697" v="431" actId="2696"/>
      <pc:docMkLst>
        <pc:docMk/>
      </pc:docMkLst>
      <pc:sldChg chg="addSp modSp mod">
        <pc:chgData name="Pedro Lopes" userId="40e56e32-8db9-4762-81b5-b0f12e13e658" providerId="ADAL" clId="{927BE64E-045D-F74A-AD55-372185734032}" dt="2024-01-09T16:54:44.137" v="88" actId="207"/>
        <pc:sldMkLst>
          <pc:docMk/>
          <pc:sldMk cId="3611892251" sldId="256"/>
        </pc:sldMkLst>
        <pc:spChg chg="mod">
          <ac:chgData name="Pedro Lopes" userId="40e56e32-8db9-4762-81b5-b0f12e13e658" providerId="ADAL" clId="{927BE64E-045D-F74A-AD55-372185734032}" dt="2024-01-09T16:53:58.728" v="63" actId="20577"/>
          <ac:spMkLst>
            <pc:docMk/>
            <pc:sldMk cId="3611892251" sldId="256"/>
            <ac:spMk id="2" creationId="{9D2C8B65-E568-CE41-7B6A-D644191478C1}"/>
          </ac:spMkLst>
        </pc:spChg>
        <pc:spChg chg="add mod">
          <ac:chgData name="Pedro Lopes" userId="40e56e32-8db9-4762-81b5-b0f12e13e658" providerId="ADAL" clId="{927BE64E-045D-F74A-AD55-372185734032}" dt="2024-01-09T16:54:36.249" v="86" actId="1076"/>
          <ac:spMkLst>
            <pc:docMk/>
            <pc:sldMk cId="3611892251" sldId="256"/>
            <ac:spMk id="3" creationId="{D4067797-9C20-1B6A-D4BB-B1B9DD964C83}"/>
          </ac:spMkLst>
        </pc:spChg>
        <pc:spChg chg="add mod">
          <ac:chgData name="Pedro Lopes" userId="40e56e32-8db9-4762-81b5-b0f12e13e658" providerId="ADAL" clId="{927BE64E-045D-F74A-AD55-372185734032}" dt="2024-01-09T16:54:44.137" v="88" actId="207"/>
          <ac:spMkLst>
            <pc:docMk/>
            <pc:sldMk cId="3611892251" sldId="256"/>
            <ac:spMk id="7" creationId="{2776A7B3-681E-CECD-2E90-E2BF953B7F0A}"/>
          </ac:spMkLst>
        </pc:spChg>
      </pc:sldChg>
      <pc:sldChg chg="delSp modSp add del mod">
        <pc:chgData name="Pedro Lopes" userId="40e56e32-8db9-4762-81b5-b0f12e13e658" providerId="ADAL" clId="{927BE64E-045D-F74A-AD55-372185734032}" dt="2024-01-09T17:16:48.289" v="314" actId="2696"/>
        <pc:sldMkLst>
          <pc:docMk/>
          <pc:sldMk cId="2027033434" sldId="262"/>
        </pc:sldMkLst>
        <pc:spChg chg="del">
          <ac:chgData name="Pedro Lopes" userId="40e56e32-8db9-4762-81b5-b0f12e13e658" providerId="ADAL" clId="{927BE64E-045D-F74A-AD55-372185734032}" dt="2024-01-09T17:16:17.206" v="309" actId="21"/>
          <ac:spMkLst>
            <pc:docMk/>
            <pc:sldMk cId="2027033434" sldId="262"/>
            <ac:spMk id="4" creationId="{610B02F6-17DF-5CBE-F0C6-31F943E25CA1}"/>
          </ac:spMkLst>
        </pc:spChg>
        <pc:spChg chg="del mod">
          <ac:chgData name="Pedro Lopes" userId="40e56e32-8db9-4762-81b5-b0f12e13e658" providerId="ADAL" clId="{927BE64E-045D-F74A-AD55-372185734032}" dt="2024-01-09T17:16:17.206" v="309" actId="21"/>
          <ac:spMkLst>
            <pc:docMk/>
            <pc:sldMk cId="2027033434" sldId="262"/>
            <ac:spMk id="5" creationId="{C8A71B27-3287-E8B4-7B37-13129932551C}"/>
          </ac:spMkLst>
        </pc:spChg>
        <pc:spChg chg="del mod">
          <ac:chgData name="Pedro Lopes" userId="40e56e32-8db9-4762-81b5-b0f12e13e658" providerId="ADAL" clId="{927BE64E-045D-F74A-AD55-372185734032}" dt="2024-01-09T17:16:17.206" v="309" actId="21"/>
          <ac:spMkLst>
            <pc:docMk/>
            <pc:sldMk cId="2027033434" sldId="262"/>
            <ac:spMk id="6" creationId="{E35E66D4-578A-FD84-F856-F5D7BC8BACE3}"/>
          </ac:spMkLst>
        </pc:spChg>
        <pc:spChg chg="mod">
          <ac:chgData name="Pedro Lopes" userId="40e56e32-8db9-4762-81b5-b0f12e13e658" providerId="ADAL" clId="{927BE64E-045D-F74A-AD55-372185734032}" dt="2024-01-09T17:09:16.393" v="277" actId="2711"/>
          <ac:spMkLst>
            <pc:docMk/>
            <pc:sldMk cId="2027033434" sldId="262"/>
            <ac:spMk id="11" creationId="{E165B574-0E8E-24AC-50D2-B40EC7B66DB9}"/>
          </ac:spMkLst>
        </pc:spChg>
        <pc:spChg chg="mod">
          <ac:chgData name="Pedro Lopes" userId="40e56e32-8db9-4762-81b5-b0f12e13e658" providerId="ADAL" clId="{927BE64E-045D-F74A-AD55-372185734032}" dt="2024-01-09T17:09:20.203" v="278" actId="2711"/>
          <ac:spMkLst>
            <pc:docMk/>
            <pc:sldMk cId="2027033434" sldId="262"/>
            <ac:spMk id="12" creationId="{38E3A235-74A9-1E40-F5B6-8D7AA682754F}"/>
          </ac:spMkLst>
        </pc:spChg>
        <pc:spChg chg="mod">
          <ac:chgData name="Pedro Lopes" userId="40e56e32-8db9-4762-81b5-b0f12e13e658" providerId="ADAL" clId="{927BE64E-045D-F74A-AD55-372185734032}" dt="2024-01-09T17:09:23.274" v="279" actId="2711"/>
          <ac:spMkLst>
            <pc:docMk/>
            <pc:sldMk cId="2027033434" sldId="262"/>
            <ac:spMk id="16" creationId="{E8F40978-3436-C75D-DD56-36D574246E61}"/>
          </ac:spMkLst>
        </pc:spChg>
        <pc:grpChg chg="del">
          <ac:chgData name="Pedro Lopes" userId="40e56e32-8db9-4762-81b5-b0f12e13e658" providerId="ADAL" clId="{927BE64E-045D-F74A-AD55-372185734032}" dt="2024-01-09T17:16:17.206" v="309" actId="21"/>
          <ac:grpSpMkLst>
            <pc:docMk/>
            <pc:sldMk cId="2027033434" sldId="262"/>
            <ac:grpSpMk id="17" creationId="{3F08382E-E366-BDDD-190F-3965F42390D5}"/>
          </ac:grpSpMkLst>
        </pc:grpChg>
        <pc:picChg chg="del">
          <ac:chgData name="Pedro Lopes" userId="40e56e32-8db9-4762-81b5-b0f12e13e658" providerId="ADAL" clId="{927BE64E-045D-F74A-AD55-372185734032}" dt="2024-01-09T17:16:17.206" v="309" actId="21"/>
          <ac:picMkLst>
            <pc:docMk/>
            <pc:sldMk cId="2027033434" sldId="262"/>
            <ac:picMk id="8" creationId="{D9F8769A-38BA-4874-9B45-423674B28BE4}"/>
          </ac:picMkLst>
        </pc:picChg>
      </pc:sldChg>
      <pc:sldChg chg="modSp add del mod">
        <pc:chgData name="Pedro Lopes" userId="40e56e32-8db9-4762-81b5-b0f12e13e658" providerId="ADAL" clId="{927BE64E-045D-F74A-AD55-372185734032}" dt="2024-01-09T17:28:28.050" v="354" actId="2696"/>
        <pc:sldMkLst>
          <pc:docMk/>
          <pc:sldMk cId="3031544202" sldId="273"/>
        </pc:sldMkLst>
        <pc:spChg chg="mod">
          <ac:chgData name="Pedro Lopes" userId="40e56e32-8db9-4762-81b5-b0f12e13e658" providerId="ADAL" clId="{927BE64E-045D-F74A-AD55-372185734032}" dt="2024-01-09T17:04:24.065" v="226" actId="14100"/>
          <ac:spMkLst>
            <pc:docMk/>
            <pc:sldMk cId="3031544202" sldId="273"/>
            <ac:spMk id="16" creationId="{C7A85AF7-538A-DAF2-C33E-2283B638BF5D}"/>
          </ac:spMkLst>
        </pc:spChg>
      </pc:sldChg>
      <pc:sldChg chg="modSp mod ord">
        <pc:chgData name="Pedro Lopes" userId="40e56e32-8db9-4762-81b5-b0f12e13e658" providerId="ADAL" clId="{927BE64E-045D-F74A-AD55-372185734032}" dt="2024-01-09T17:08:01.716" v="263" actId="1076"/>
        <pc:sldMkLst>
          <pc:docMk/>
          <pc:sldMk cId="1323474603" sldId="284"/>
        </pc:sldMkLst>
        <pc:picChg chg="mod">
          <ac:chgData name="Pedro Lopes" userId="40e56e32-8db9-4762-81b5-b0f12e13e658" providerId="ADAL" clId="{927BE64E-045D-F74A-AD55-372185734032}" dt="2024-01-09T17:08:01.716" v="263" actId="1076"/>
          <ac:picMkLst>
            <pc:docMk/>
            <pc:sldMk cId="1323474603" sldId="284"/>
            <ac:picMk id="3" creationId="{DD489DDD-83F0-45A2-DD5C-0106E8DFFD5C}"/>
          </ac:picMkLst>
        </pc:picChg>
      </pc:sldChg>
      <pc:sldChg chg="delSp modSp add del mod delAnim">
        <pc:chgData name="Pedro Lopes" userId="40e56e32-8db9-4762-81b5-b0f12e13e658" providerId="ADAL" clId="{927BE64E-045D-F74A-AD55-372185734032}" dt="2024-01-09T17:16:00.721" v="305" actId="2696"/>
        <pc:sldMkLst>
          <pc:docMk/>
          <pc:sldMk cId="3353434078" sldId="285"/>
        </pc:sldMkLst>
        <pc:spChg chg="mod">
          <ac:chgData name="Pedro Lopes" userId="40e56e32-8db9-4762-81b5-b0f12e13e658" providerId="ADAL" clId="{927BE64E-045D-F74A-AD55-372185734032}" dt="2024-01-09T17:08:11.522" v="264" actId="1076"/>
          <ac:spMkLst>
            <pc:docMk/>
            <pc:sldMk cId="3353434078" sldId="285"/>
            <ac:spMk id="45" creationId="{6694E995-360C-B851-6618-B7C9939CE607}"/>
          </ac:spMkLst>
        </pc:spChg>
        <pc:grpChg chg="del">
          <ac:chgData name="Pedro Lopes" userId="40e56e32-8db9-4762-81b5-b0f12e13e658" providerId="ADAL" clId="{927BE64E-045D-F74A-AD55-372185734032}" dt="2024-01-09T17:15:27.950" v="284" actId="21"/>
          <ac:grpSpMkLst>
            <pc:docMk/>
            <pc:sldMk cId="3353434078" sldId="285"/>
            <ac:grpSpMk id="6" creationId="{6F78B1A1-0E26-FFF9-B123-E7C7623860FE}"/>
          </ac:grpSpMkLst>
        </pc:grpChg>
        <pc:grpChg chg="del">
          <ac:chgData name="Pedro Lopes" userId="40e56e32-8db9-4762-81b5-b0f12e13e658" providerId="ADAL" clId="{927BE64E-045D-F74A-AD55-372185734032}" dt="2024-01-09T17:15:27.950" v="284" actId="21"/>
          <ac:grpSpMkLst>
            <pc:docMk/>
            <pc:sldMk cId="3353434078" sldId="285"/>
            <ac:grpSpMk id="9" creationId="{D15B6898-7FA1-FD62-99DF-3D0668871D3D}"/>
          </ac:grpSpMkLst>
        </pc:grpChg>
        <pc:grpChg chg="del">
          <ac:chgData name="Pedro Lopes" userId="40e56e32-8db9-4762-81b5-b0f12e13e658" providerId="ADAL" clId="{927BE64E-045D-F74A-AD55-372185734032}" dt="2024-01-09T17:15:27.950" v="284" actId="21"/>
          <ac:grpSpMkLst>
            <pc:docMk/>
            <pc:sldMk cId="3353434078" sldId="285"/>
            <ac:grpSpMk id="38" creationId="{639D04CB-A07D-B367-CC66-D9066060EB35}"/>
          </ac:grpSpMkLst>
        </pc:grpChg>
        <pc:grpChg chg="del">
          <ac:chgData name="Pedro Lopes" userId="40e56e32-8db9-4762-81b5-b0f12e13e658" providerId="ADAL" clId="{927BE64E-045D-F74A-AD55-372185734032}" dt="2024-01-09T17:15:27.950" v="284" actId="21"/>
          <ac:grpSpMkLst>
            <pc:docMk/>
            <pc:sldMk cId="3353434078" sldId="285"/>
            <ac:grpSpMk id="50" creationId="{BAB69C0E-EAA8-E5C2-9828-BB72CE3B581F}"/>
          </ac:grpSpMkLst>
        </pc:grpChg>
        <pc:picChg chg="del">
          <ac:chgData name="Pedro Lopes" userId="40e56e32-8db9-4762-81b5-b0f12e13e658" providerId="ADAL" clId="{927BE64E-045D-F74A-AD55-372185734032}" dt="2024-01-09T17:15:27.950" v="284" actId="21"/>
          <ac:picMkLst>
            <pc:docMk/>
            <pc:sldMk cId="3353434078" sldId="285"/>
            <ac:picMk id="40" creationId="{66FA5FE0-5B0D-2276-2D5E-FF1C5095000F}"/>
          </ac:picMkLst>
        </pc:picChg>
        <pc:picChg chg="del">
          <ac:chgData name="Pedro Lopes" userId="40e56e32-8db9-4762-81b5-b0f12e13e658" providerId="ADAL" clId="{927BE64E-045D-F74A-AD55-372185734032}" dt="2024-01-09T17:15:27.950" v="284" actId="21"/>
          <ac:picMkLst>
            <pc:docMk/>
            <pc:sldMk cId="3353434078" sldId="285"/>
            <ac:picMk id="43" creationId="{99318C32-BCBD-93BF-8970-29841ED7F9B6}"/>
          </ac:picMkLst>
        </pc:picChg>
        <pc:cxnChg chg="del mod">
          <ac:chgData name="Pedro Lopes" userId="40e56e32-8db9-4762-81b5-b0f12e13e658" providerId="ADAL" clId="{927BE64E-045D-F74A-AD55-372185734032}" dt="2024-01-09T17:15:27.950" v="284" actId="21"/>
          <ac:cxnSpMkLst>
            <pc:docMk/>
            <pc:sldMk cId="3353434078" sldId="285"/>
            <ac:cxnSpMk id="42" creationId="{6AF5E307-29D8-9290-854F-F868C328EC29}"/>
          </ac:cxnSpMkLst>
        </pc:cxnChg>
      </pc:sldChg>
      <pc:sldChg chg="modSp mod">
        <pc:chgData name="Pedro Lopes" userId="40e56e32-8db9-4762-81b5-b0f12e13e658" providerId="ADAL" clId="{927BE64E-045D-F74A-AD55-372185734032}" dt="2024-01-09T17:00:01.107" v="204" actId="20577"/>
        <pc:sldMkLst>
          <pc:docMk/>
          <pc:sldMk cId="4283568258" sldId="286"/>
        </pc:sldMkLst>
        <pc:spChg chg="mod">
          <ac:chgData name="Pedro Lopes" userId="40e56e32-8db9-4762-81b5-b0f12e13e658" providerId="ADAL" clId="{927BE64E-045D-F74A-AD55-372185734032}" dt="2024-01-09T17:00:01.107" v="204" actId="20577"/>
          <ac:spMkLst>
            <pc:docMk/>
            <pc:sldMk cId="4283568258" sldId="286"/>
            <ac:spMk id="5" creationId="{4FFC02C0-EAAB-4068-630C-E590A613EA3D}"/>
          </ac:spMkLst>
        </pc:spChg>
      </pc:sldChg>
      <pc:sldChg chg="del">
        <pc:chgData name="Pedro Lopes" userId="40e56e32-8db9-4762-81b5-b0f12e13e658" providerId="ADAL" clId="{927BE64E-045D-F74A-AD55-372185734032}" dt="2024-01-09T16:55:12.744" v="90" actId="2696"/>
        <pc:sldMkLst>
          <pc:docMk/>
          <pc:sldMk cId="237544605" sldId="292"/>
        </pc:sldMkLst>
      </pc:sldChg>
      <pc:sldChg chg="add del">
        <pc:chgData name="Pedro Lopes" userId="40e56e32-8db9-4762-81b5-b0f12e13e658" providerId="ADAL" clId="{927BE64E-045D-F74A-AD55-372185734032}" dt="2024-01-09T17:28:49.541" v="362" actId="2696"/>
        <pc:sldMkLst>
          <pc:docMk/>
          <pc:sldMk cId="3997194978" sldId="297"/>
        </pc:sldMkLst>
      </pc:sldChg>
      <pc:sldChg chg="del">
        <pc:chgData name="Pedro Lopes" userId="40e56e32-8db9-4762-81b5-b0f12e13e658" providerId="ADAL" clId="{927BE64E-045D-F74A-AD55-372185734032}" dt="2024-01-09T16:56:35.535" v="128" actId="2696"/>
        <pc:sldMkLst>
          <pc:docMk/>
          <pc:sldMk cId="1184522372" sldId="2147376620"/>
        </pc:sldMkLst>
      </pc:sldChg>
      <pc:sldChg chg="modSp add mod">
        <pc:chgData name="Pedro Lopes" userId="40e56e32-8db9-4762-81b5-b0f12e13e658" providerId="ADAL" clId="{927BE64E-045D-F74A-AD55-372185734032}" dt="2024-01-09T16:56:56.660" v="146" actId="20577"/>
        <pc:sldMkLst>
          <pc:docMk/>
          <pc:sldMk cId="4229273870" sldId="2147376620"/>
        </pc:sldMkLst>
        <pc:spChg chg="mod">
          <ac:chgData name="Pedro Lopes" userId="40e56e32-8db9-4762-81b5-b0f12e13e658" providerId="ADAL" clId="{927BE64E-045D-F74A-AD55-372185734032}" dt="2024-01-09T16:56:56.660" v="146" actId="20577"/>
          <ac:spMkLst>
            <pc:docMk/>
            <pc:sldMk cId="4229273870" sldId="2147376620"/>
            <ac:spMk id="2" creationId="{2F69D061-4CEC-1F90-DE68-D63E8BF1BF93}"/>
          </ac:spMkLst>
        </pc:spChg>
      </pc:sldChg>
      <pc:sldChg chg="modSp mod">
        <pc:chgData name="Pedro Lopes" userId="40e56e32-8db9-4762-81b5-b0f12e13e658" providerId="ADAL" clId="{927BE64E-045D-F74A-AD55-372185734032}" dt="2024-01-09T18:00:04.383" v="426" actId="1037"/>
        <pc:sldMkLst>
          <pc:docMk/>
          <pc:sldMk cId="2799207890" sldId="2147376623"/>
        </pc:sldMkLst>
        <pc:spChg chg="mod">
          <ac:chgData name="Pedro Lopes" userId="40e56e32-8db9-4762-81b5-b0f12e13e658" providerId="ADAL" clId="{927BE64E-045D-F74A-AD55-372185734032}" dt="2024-01-09T18:00:04.383" v="426" actId="1037"/>
          <ac:spMkLst>
            <pc:docMk/>
            <pc:sldMk cId="2799207890" sldId="2147376623"/>
            <ac:spMk id="2" creationId="{0CA0B2D3-277C-226C-6E84-921B89D73359}"/>
          </ac:spMkLst>
        </pc:spChg>
        <pc:spChg chg="mod">
          <ac:chgData name="Pedro Lopes" userId="40e56e32-8db9-4762-81b5-b0f12e13e658" providerId="ADAL" clId="{927BE64E-045D-F74A-AD55-372185734032}" dt="2024-01-09T17:59:38.457" v="371" actId="20577"/>
          <ac:spMkLst>
            <pc:docMk/>
            <pc:sldMk cId="2799207890" sldId="2147376623"/>
            <ac:spMk id="5" creationId="{C33F0C01-2194-8C52-12E4-2A2B110DBAA1}"/>
          </ac:spMkLst>
        </pc:spChg>
      </pc:sldChg>
      <pc:sldChg chg="addSp modSp mod modAnim">
        <pc:chgData name="Pedro Lopes" userId="40e56e32-8db9-4762-81b5-b0f12e13e658" providerId="ADAL" clId="{927BE64E-045D-F74A-AD55-372185734032}" dt="2024-01-09T17:07:46.721" v="262" actId="1037"/>
        <pc:sldMkLst>
          <pc:docMk/>
          <pc:sldMk cId="2479261159" sldId="2147376625"/>
        </pc:sldMkLst>
        <pc:spChg chg="add mod">
          <ac:chgData name="Pedro Lopes" userId="40e56e32-8db9-4762-81b5-b0f12e13e658" providerId="ADAL" clId="{927BE64E-045D-F74A-AD55-372185734032}" dt="2024-01-09T17:07:46.721" v="262" actId="1037"/>
          <ac:spMkLst>
            <pc:docMk/>
            <pc:sldMk cId="2479261159" sldId="2147376625"/>
            <ac:spMk id="8" creationId="{A1C14BDA-04ED-C1EF-5753-CFFDC118BA49}"/>
          </ac:spMkLst>
        </pc:spChg>
        <pc:picChg chg="add mod">
          <ac:chgData name="Pedro Lopes" userId="40e56e32-8db9-4762-81b5-b0f12e13e658" providerId="ADAL" clId="{927BE64E-045D-F74A-AD55-372185734032}" dt="2024-01-09T17:07:35.322" v="249" actId="1035"/>
          <ac:picMkLst>
            <pc:docMk/>
            <pc:sldMk cId="2479261159" sldId="2147376625"/>
            <ac:picMk id="11" creationId="{7E36D5B1-FAB2-FC47-40CC-CF069FFF047A}"/>
          </ac:picMkLst>
        </pc:picChg>
      </pc:sldChg>
      <pc:sldChg chg="del ord">
        <pc:chgData name="Pedro Lopes" userId="40e56e32-8db9-4762-81b5-b0f12e13e658" providerId="ADAL" clId="{927BE64E-045D-F74A-AD55-372185734032}" dt="2024-01-09T17:07:04.661" v="228" actId="2696"/>
        <pc:sldMkLst>
          <pc:docMk/>
          <pc:sldMk cId="747835074" sldId="2147376629"/>
        </pc:sldMkLst>
      </pc:sldChg>
      <pc:sldChg chg="del">
        <pc:chgData name="Pedro Lopes" userId="40e56e32-8db9-4762-81b5-b0f12e13e658" providerId="ADAL" clId="{927BE64E-045D-F74A-AD55-372185734032}" dt="2024-01-09T17:03:15.874" v="218" actId="2696"/>
        <pc:sldMkLst>
          <pc:docMk/>
          <pc:sldMk cId="2350611993" sldId="2147376631"/>
        </pc:sldMkLst>
      </pc:sldChg>
      <pc:sldChg chg="modSp add del mod">
        <pc:chgData name="Pedro Lopes" userId="40e56e32-8db9-4762-81b5-b0f12e13e658" providerId="ADAL" clId="{927BE64E-045D-F74A-AD55-372185734032}" dt="2024-01-09T17:27:37.470" v="342" actId="2696"/>
        <pc:sldMkLst>
          <pc:docMk/>
          <pc:sldMk cId="1174310382" sldId="2147376632"/>
        </pc:sldMkLst>
        <pc:spChg chg="mod">
          <ac:chgData name="Pedro Lopes" userId="40e56e32-8db9-4762-81b5-b0f12e13e658" providerId="ADAL" clId="{927BE64E-045D-F74A-AD55-372185734032}" dt="2024-01-09T17:13:15.855" v="280" actId="1076"/>
          <ac:spMkLst>
            <pc:docMk/>
            <pc:sldMk cId="1174310382" sldId="2147376632"/>
            <ac:spMk id="5" creationId="{41BE92CE-C691-BC01-D7DC-2019936D7F2F}"/>
          </ac:spMkLst>
        </pc:spChg>
        <pc:picChg chg="mod">
          <ac:chgData name="Pedro Lopes" userId="40e56e32-8db9-4762-81b5-b0f12e13e658" providerId="ADAL" clId="{927BE64E-045D-F74A-AD55-372185734032}" dt="2024-01-09T17:27:01.847" v="336" actId="1076"/>
          <ac:picMkLst>
            <pc:docMk/>
            <pc:sldMk cId="1174310382" sldId="2147376632"/>
            <ac:picMk id="3" creationId="{EBCE46F1-AF87-EA86-6688-2060B88E5673}"/>
          </ac:picMkLst>
        </pc:picChg>
        <pc:picChg chg="mod">
          <ac:chgData name="Pedro Lopes" userId="40e56e32-8db9-4762-81b5-b0f12e13e658" providerId="ADAL" clId="{927BE64E-045D-F74A-AD55-372185734032}" dt="2024-01-09T17:27:05.461" v="337" actId="1076"/>
          <ac:picMkLst>
            <pc:docMk/>
            <pc:sldMk cId="1174310382" sldId="2147376632"/>
            <ac:picMk id="6" creationId="{32DD8C10-34BA-EDCF-B7FD-1300697FCE1D}"/>
          </ac:picMkLst>
        </pc:picChg>
      </pc:sldChg>
      <pc:sldChg chg="del">
        <pc:chgData name="Pedro Lopes" userId="40e56e32-8db9-4762-81b5-b0f12e13e658" providerId="ADAL" clId="{927BE64E-045D-F74A-AD55-372185734032}" dt="2024-01-09T17:01:14.158" v="212" actId="2696"/>
        <pc:sldMkLst>
          <pc:docMk/>
          <pc:sldMk cId="1418418350" sldId="2147376741"/>
        </pc:sldMkLst>
      </pc:sldChg>
      <pc:sldChg chg="addSp delSp modSp add del mod delAnim">
        <pc:chgData name="Pedro Lopes" userId="40e56e32-8db9-4762-81b5-b0f12e13e658" providerId="ADAL" clId="{927BE64E-045D-F74A-AD55-372185734032}" dt="2024-01-09T17:01:34.981" v="216" actId="1076"/>
        <pc:sldMkLst>
          <pc:docMk/>
          <pc:sldMk cId="1337754654" sldId="2147376747"/>
        </pc:sldMkLst>
        <pc:spChg chg="add del mod">
          <ac:chgData name="Pedro Lopes" userId="40e56e32-8db9-4762-81b5-b0f12e13e658" providerId="ADAL" clId="{927BE64E-045D-F74A-AD55-372185734032}" dt="2024-01-09T17:01:24.733" v="214" actId="478"/>
          <ac:spMkLst>
            <pc:docMk/>
            <pc:sldMk cId="1337754654" sldId="2147376747"/>
            <ac:spMk id="6" creationId="{DC8638FF-3D6D-61F8-11BB-F3BDED895B1D}"/>
          </ac:spMkLst>
        </pc:spChg>
        <pc:spChg chg="del">
          <ac:chgData name="Pedro Lopes" userId="40e56e32-8db9-4762-81b5-b0f12e13e658" providerId="ADAL" clId="{927BE64E-045D-F74A-AD55-372185734032}" dt="2024-01-09T17:01:22.576" v="213" actId="478"/>
          <ac:spMkLst>
            <pc:docMk/>
            <pc:sldMk cId="1337754654" sldId="2147376747"/>
            <ac:spMk id="41" creationId="{4A7010F2-875F-A0E2-C752-0BAC77AD45AF}"/>
          </ac:spMkLst>
        </pc:spChg>
        <pc:spChg chg="mod">
          <ac:chgData name="Pedro Lopes" userId="40e56e32-8db9-4762-81b5-b0f12e13e658" providerId="ADAL" clId="{927BE64E-045D-F74A-AD55-372185734032}" dt="2024-01-09T17:01:29.734" v="215" actId="1076"/>
          <ac:spMkLst>
            <pc:docMk/>
            <pc:sldMk cId="1337754654" sldId="2147376747"/>
            <ac:spMk id="63" creationId="{7429D234-3909-9F72-0A78-C0D58BC2E7FA}"/>
          </ac:spMkLst>
        </pc:spChg>
        <pc:grpChg chg="mod">
          <ac:chgData name="Pedro Lopes" userId="40e56e32-8db9-4762-81b5-b0f12e13e658" providerId="ADAL" clId="{927BE64E-045D-F74A-AD55-372185734032}" dt="2024-01-09T17:01:34.981" v="216" actId="1076"/>
          <ac:grpSpMkLst>
            <pc:docMk/>
            <pc:sldMk cId="1337754654" sldId="2147376747"/>
            <ac:grpSpMk id="2" creationId="{6365D6BE-E728-5A66-4BBE-2019ED31C1C4}"/>
          </ac:grpSpMkLst>
        </pc:grpChg>
        <pc:grpChg chg="mod">
          <ac:chgData name="Pedro Lopes" userId="40e56e32-8db9-4762-81b5-b0f12e13e658" providerId="ADAL" clId="{927BE64E-045D-F74A-AD55-372185734032}" dt="2024-01-09T17:01:34.981" v="216" actId="1076"/>
          <ac:grpSpMkLst>
            <pc:docMk/>
            <pc:sldMk cId="1337754654" sldId="2147376747"/>
            <ac:grpSpMk id="24" creationId="{F8345876-1448-E64B-B783-B7D92AED5066}"/>
          </ac:grpSpMkLst>
        </pc:grpChg>
        <pc:grpChg chg="mod">
          <ac:chgData name="Pedro Lopes" userId="40e56e32-8db9-4762-81b5-b0f12e13e658" providerId="ADAL" clId="{927BE64E-045D-F74A-AD55-372185734032}" dt="2024-01-09T17:01:34.981" v="216" actId="1076"/>
          <ac:grpSpMkLst>
            <pc:docMk/>
            <pc:sldMk cId="1337754654" sldId="2147376747"/>
            <ac:grpSpMk id="58" creationId="{84F5869F-2A9B-1571-E5CA-C3F8A4AA0831}"/>
          </ac:grpSpMkLst>
        </pc:grpChg>
        <pc:grpChg chg="mod">
          <ac:chgData name="Pedro Lopes" userId="40e56e32-8db9-4762-81b5-b0f12e13e658" providerId="ADAL" clId="{927BE64E-045D-F74A-AD55-372185734032}" dt="2024-01-09T17:01:34.981" v="216" actId="1076"/>
          <ac:grpSpMkLst>
            <pc:docMk/>
            <pc:sldMk cId="1337754654" sldId="2147376747"/>
            <ac:grpSpMk id="59" creationId="{3DEF0BA5-3E7F-3C2E-D66B-C9C730906081}"/>
          </ac:grpSpMkLst>
        </pc:grpChg>
        <pc:grpChg chg="mod">
          <ac:chgData name="Pedro Lopes" userId="40e56e32-8db9-4762-81b5-b0f12e13e658" providerId="ADAL" clId="{927BE64E-045D-F74A-AD55-372185734032}" dt="2024-01-09T17:01:34.981" v="216" actId="1076"/>
          <ac:grpSpMkLst>
            <pc:docMk/>
            <pc:sldMk cId="1337754654" sldId="2147376747"/>
            <ac:grpSpMk id="66" creationId="{FD1F5198-7958-8381-8837-AFA36110ACF8}"/>
          </ac:grpSpMkLst>
        </pc:grpChg>
        <pc:picChg chg="mod">
          <ac:chgData name="Pedro Lopes" userId="40e56e32-8db9-4762-81b5-b0f12e13e658" providerId="ADAL" clId="{927BE64E-045D-F74A-AD55-372185734032}" dt="2024-01-09T17:01:34.981" v="216" actId="1076"/>
          <ac:picMkLst>
            <pc:docMk/>
            <pc:sldMk cId="1337754654" sldId="2147376747"/>
            <ac:picMk id="64" creationId="{82EE15B2-BD82-656C-BE7A-74381E80A4F8}"/>
          </ac:picMkLst>
        </pc:picChg>
      </pc:sldChg>
      <pc:sldChg chg="del">
        <pc:chgData name="Pedro Lopes" userId="40e56e32-8db9-4762-81b5-b0f12e13e658" providerId="ADAL" clId="{927BE64E-045D-F74A-AD55-372185734032}" dt="2024-01-09T17:03:19.740" v="219" actId="2696"/>
        <pc:sldMkLst>
          <pc:docMk/>
          <pc:sldMk cId="2462203731" sldId="2147376749"/>
        </pc:sldMkLst>
      </pc:sldChg>
      <pc:sldChg chg="del">
        <pc:chgData name="Pedro Lopes" userId="40e56e32-8db9-4762-81b5-b0f12e13e658" providerId="ADAL" clId="{927BE64E-045D-F74A-AD55-372185734032}" dt="2024-01-09T16:54:54.694" v="89" actId="2696"/>
        <pc:sldMkLst>
          <pc:docMk/>
          <pc:sldMk cId="741801820" sldId="2147376751"/>
        </pc:sldMkLst>
      </pc:sldChg>
      <pc:sldChg chg="del">
        <pc:chgData name="Pedro Lopes" userId="40e56e32-8db9-4762-81b5-b0f12e13e658" providerId="ADAL" clId="{927BE64E-045D-F74A-AD55-372185734032}" dt="2024-01-09T17:59:09.101" v="366" actId="2696"/>
        <pc:sldMkLst>
          <pc:docMk/>
          <pc:sldMk cId="548286663" sldId="2147376752"/>
        </pc:sldMkLst>
      </pc:sldChg>
      <pc:sldChg chg="del">
        <pc:chgData name="Pedro Lopes" userId="40e56e32-8db9-4762-81b5-b0f12e13e658" providerId="ADAL" clId="{927BE64E-045D-F74A-AD55-372185734032}" dt="2024-01-09T17:06:39.335" v="227" actId="2696"/>
        <pc:sldMkLst>
          <pc:docMk/>
          <pc:sldMk cId="1274012730" sldId="2147376765"/>
        </pc:sldMkLst>
      </pc:sldChg>
      <pc:sldChg chg="del">
        <pc:chgData name="Pedro Lopes" userId="40e56e32-8db9-4762-81b5-b0f12e13e658" providerId="ADAL" clId="{927BE64E-045D-F74A-AD55-372185734032}" dt="2024-01-09T17:00:11.112" v="206" actId="2696"/>
        <pc:sldMkLst>
          <pc:docMk/>
          <pc:sldMk cId="4001917938" sldId="2147376767"/>
        </pc:sldMkLst>
      </pc:sldChg>
      <pc:sldChg chg="del">
        <pc:chgData name="Pedro Lopes" userId="40e56e32-8db9-4762-81b5-b0f12e13e658" providerId="ADAL" clId="{927BE64E-045D-F74A-AD55-372185734032}" dt="2024-01-09T17:00:10.096" v="205" actId="2696"/>
        <pc:sldMkLst>
          <pc:docMk/>
          <pc:sldMk cId="67634594" sldId="2147376768"/>
        </pc:sldMkLst>
      </pc:sldChg>
      <pc:sldChg chg="delSp del mod">
        <pc:chgData name="Pedro Lopes" userId="40e56e32-8db9-4762-81b5-b0f12e13e658" providerId="ADAL" clId="{927BE64E-045D-F74A-AD55-372185734032}" dt="2024-01-23T17:29:13.493" v="428" actId="2696"/>
        <pc:sldMkLst>
          <pc:docMk/>
          <pc:sldMk cId="3843459291" sldId="2147376769"/>
        </pc:sldMkLst>
        <pc:spChg chg="del">
          <ac:chgData name="Pedro Lopes" userId="40e56e32-8db9-4762-81b5-b0f12e13e658" providerId="ADAL" clId="{927BE64E-045D-F74A-AD55-372185734032}" dt="2024-01-09T17:00:19.690" v="207" actId="478"/>
          <ac:spMkLst>
            <pc:docMk/>
            <pc:sldMk cId="3843459291" sldId="2147376769"/>
            <ac:spMk id="9" creationId="{286D142D-17CF-7406-696B-C1652588D9BB}"/>
          </ac:spMkLst>
        </pc:spChg>
      </pc:sldChg>
      <pc:sldChg chg="del">
        <pc:chgData name="Pedro Lopes" userId="40e56e32-8db9-4762-81b5-b0f12e13e658" providerId="ADAL" clId="{927BE64E-045D-F74A-AD55-372185734032}" dt="2024-01-09T17:00:29.837" v="208" actId="2696"/>
        <pc:sldMkLst>
          <pc:docMk/>
          <pc:sldMk cId="2827952941" sldId="2147376770"/>
        </pc:sldMkLst>
      </pc:sldChg>
      <pc:sldChg chg="del">
        <pc:chgData name="Pedro Lopes" userId="40e56e32-8db9-4762-81b5-b0f12e13e658" providerId="ADAL" clId="{927BE64E-045D-F74A-AD55-372185734032}" dt="2024-01-09T17:00:34.488" v="209" actId="2696"/>
        <pc:sldMkLst>
          <pc:docMk/>
          <pc:sldMk cId="101305670" sldId="2147376771"/>
        </pc:sldMkLst>
      </pc:sldChg>
      <pc:sldChg chg="del">
        <pc:chgData name="Pedro Lopes" userId="40e56e32-8db9-4762-81b5-b0f12e13e658" providerId="ADAL" clId="{927BE64E-045D-F74A-AD55-372185734032}" dt="2024-01-23T17:29:15.260" v="429" actId="2696"/>
        <pc:sldMkLst>
          <pc:docMk/>
          <pc:sldMk cId="629670919" sldId="2147376772"/>
        </pc:sldMkLst>
      </pc:sldChg>
      <pc:sldChg chg="modSp mod">
        <pc:chgData name="Pedro Lopes" userId="40e56e32-8db9-4762-81b5-b0f12e13e658" providerId="ADAL" clId="{927BE64E-045D-F74A-AD55-372185734032}" dt="2024-01-23T17:30:29.417" v="430" actId="1036"/>
        <pc:sldMkLst>
          <pc:docMk/>
          <pc:sldMk cId="2895938389" sldId="2147376775"/>
        </pc:sldMkLst>
        <pc:picChg chg="mod">
          <ac:chgData name="Pedro Lopes" userId="40e56e32-8db9-4762-81b5-b0f12e13e658" providerId="ADAL" clId="{927BE64E-045D-F74A-AD55-372185734032}" dt="2024-01-23T17:30:29.417" v="430" actId="1036"/>
          <ac:picMkLst>
            <pc:docMk/>
            <pc:sldMk cId="2895938389" sldId="2147376775"/>
            <ac:picMk id="5" creationId="{C81BB94F-F679-976C-06D9-A7121BB959BF}"/>
          </ac:picMkLst>
        </pc:picChg>
      </pc:sldChg>
      <pc:sldChg chg="del">
        <pc:chgData name="Pedro Lopes" userId="40e56e32-8db9-4762-81b5-b0f12e13e658" providerId="ADAL" clId="{927BE64E-045D-F74A-AD55-372185734032}" dt="2024-01-23T17:27:47.116" v="427" actId="2696"/>
        <pc:sldMkLst>
          <pc:docMk/>
          <pc:sldMk cId="438911883" sldId="2147376776"/>
        </pc:sldMkLst>
      </pc:sldChg>
      <pc:sldChg chg="addSp delSp modSp new mod">
        <pc:chgData name="Pedro Lopes" userId="40e56e32-8db9-4762-81b5-b0f12e13e658" providerId="ADAL" clId="{927BE64E-045D-F74A-AD55-372185734032}" dt="2024-01-09T16:56:08.170" v="127" actId="2085"/>
        <pc:sldMkLst>
          <pc:docMk/>
          <pc:sldMk cId="2363429785" sldId="2147376778"/>
        </pc:sldMkLst>
        <pc:spChg chg="del">
          <ac:chgData name="Pedro Lopes" userId="40e56e32-8db9-4762-81b5-b0f12e13e658" providerId="ADAL" clId="{927BE64E-045D-F74A-AD55-372185734032}" dt="2024-01-09T16:55:38.680" v="123" actId="478"/>
          <ac:spMkLst>
            <pc:docMk/>
            <pc:sldMk cId="2363429785" sldId="2147376778"/>
            <ac:spMk id="3" creationId="{DB8A9C26-BB61-01CB-D9F9-1EE2F4080BF6}"/>
          </ac:spMkLst>
        </pc:spChg>
        <pc:spChg chg="mod">
          <ac:chgData name="Pedro Lopes" userId="40e56e32-8db9-4762-81b5-b0f12e13e658" providerId="ADAL" clId="{927BE64E-045D-F74A-AD55-372185734032}" dt="2024-01-09T16:55:36.092" v="122" actId="20577"/>
          <ac:spMkLst>
            <pc:docMk/>
            <pc:sldMk cId="2363429785" sldId="2147376778"/>
            <ac:spMk id="4" creationId="{94805E94-295C-95E0-53A8-B744112674E1}"/>
          </ac:spMkLst>
        </pc:spChg>
        <pc:spChg chg="add mod">
          <ac:chgData name="Pedro Lopes" userId="40e56e32-8db9-4762-81b5-b0f12e13e658" providerId="ADAL" clId="{927BE64E-045D-F74A-AD55-372185734032}" dt="2024-01-09T16:56:08.170" v="127" actId="2085"/>
          <ac:spMkLst>
            <pc:docMk/>
            <pc:sldMk cId="2363429785" sldId="2147376778"/>
            <ac:spMk id="6" creationId="{CDC71DF6-42BD-7534-79E9-CA7852AD6056}"/>
          </ac:spMkLst>
        </pc:spChg>
        <pc:spChg chg="add mod">
          <ac:chgData name="Pedro Lopes" userId="40e56e32-8db9-4762-81b5-b0f12e13e658" providerId="ADAL" clId="{927BE64E-045D-F74A-AD55-372185734032}" dt="2024-01-09T16:56:08.170" v="127" actId="2085"/>
          <ac:spMkLst>
            <pc:docMk/>
            <pc:sldMk cId="2363429785" sldId="2147376778"/>
            <ac:spMk id="8" creationId="{2604B76E-0691-91F3-9756-2B6521C97A76}"/>
          </ac:spMkLst>
        </pc:spChg>
        <pc:spChg chg="add mod">
          <ac:chgData name="Pedro Lopes" userId="40e56e32-8db9-4762-81b5-b0f12e13e658" providerId="ADAL" clId="{927BE64E-045D-F74A-AD55-372185734032}" dt="2024-01-09T16:56:08.170" v="127" actId="2085"/>
          <ac:spMkLst>
            <pc:docMk/>
            <pc:sldMk cId="2363429785" sldId="2147376778"/>
            <ac:spMk id="10" creationId="{43EED001-C44F-2D42-7A39-D6EB724B1CFD}"/>
          </ac:spMkLst>
        </pc:spChg>
        <pc:spChg chg="add mod">
          <ac:chgData name="Pedro Lopes" userId="40e56e32-8db9-4762-81b5-b0f12e13e658" providerId="ADAL" clId="{927BE64E-045D-F74A-AD55-372185734032}" dt="2024-01-09T16:56:08.170" v="127" actId="2085"/>
          <ac:spMkLst>
            <pc:docMk/>
            <pc:sldMk cId="2363429785" sldId="2147376778"/>
            <ac:spMk id="11" creationId="{FDC2B111-5362-16E7-A733-FA6156EC14FD}"/>
          </ac:spMkLst>
        </pc:spChg>
        <pc:spChg chg="add mod">
          <ac:chgData name="Pedro Lopes" userId="40e56e32-8db9-4762-81b5-b0f12e13e658" providerId="ADAL" clId="{927BE64E-045D-F74A-AD55-372185734032}" dt="2024-01-09T16:56:08.170" v="127" actId="2085"/>
          <ac:spMkLst>
            <pc:docMk/>
            <pc:sldMk cId="2363429785" sldId="2147376778"/>
            <ac:spMk id="12" creationId="{79860A54-C327-A4B5-83AE-31A9F49B5AF0}"/>
          </ac:spMkLst>
        </pc:spChg>
        <pc:spChg chg="add mod">
          <ac:chgData name="Pedro Lopes" userId="40e56e32-8db9-4762-81b5-b0f12e13e658" providerId="ADAL" clId="{927BE64E-045D-F74A-AD55-372185734032}" dt="2024-01-09T16:55:45.104" v="124"/>
          <ac:spMkLst>
            <pc:docMk/>
            <pc:sldMk cId="2363429785" sldId="2147376778"/>
            <ac:spMk id="14" creationId="{B6341F6C-3404-1651-B821-8E541A1145DE}"/>
          </ac:spMkLst>
        </pc:spChg>
        <pc:spChg chg="add mod">
          <ac:chgData name="Pedro Lopes" userId="40e56e32-8db9-4762-81b5-b0f12e13e658" providerId="ADAL" clId="{927BE64E-045D-F74A-AD55-372185734032}" dt="2024-01-09T16:55:45.104" v="124"/>
          <ac:spMkLst>
            <pc:docMk/>
            <pc:sldMk cId="2363429785" sldId="2147376778"/>
            <ac:spMk id="16" creationId="{09D99F41-EEEC-7494-A5C6-04C6F011A187}"/>
          </ac:spMkLst>
        </pc:spChg>
        <pc:spChg chg="add mod">
          <ac:chgData name="Pedro Lopes" userId="40e56e32-8db9-4762-81b5-b0f12e13e658" providerId="ADAL" clId="{927BE64E-045D-F74A-AD55-372185734032}" dt="2024-01-09T16:55:45.104" v="124"/>
          <ac:spMkLst>
            <pc:docMk/>
            <pc:sldMk cId="2363429785" sldId="2147376778"/>
            <ac:spMk id="18" creationId="{65619751-14D4-F898-B653-E4D5B962EDE0}"/>
          </ac:spMkLst>
        </pc:spChg>
        <pc:spChg chg="add mod">
          <ac:chgData name="Pedro Lopes" userId="40e56e32-8db9-4762-81b5-b0f12e13e658" providerId="ADAL" clId="{927BE64E-045D-F74A-AD55-372185734032}" dt="2024-01-09T16:55:45.104" v="124"/>
          <ac:spMkLst>
            <pc:docMk/>
            <pc:sldMk cId="2363429785" sldId="2147376778"/>
            <ac:spMk id="20" creationId="{D34A07A5-278B-3DAC-A457-24A9DB46C160}"/>
          </ac:spMkLst>
        </pc:spChg>
        <pc:spChg chg="add mod">
          <ac:chgData name="Pedro Lopes" userId="40e56e32-8db9-4762-81b5-b0f12e13e658" providerId="ADAL" clId="{927BE64E-045D-F74A-AD55-372185734032}" dt="2024-01-09T16:55:45.104" v="124"/>
          <ac:spMkLst>
            <pc:docMk/>
            <pc:sldMk cId="2363429785" sldId="2147376778"/>
            <ac:spMk id="21" creationId="{76E0C11E-BA8A-C285-D824-E507E7670F25}"/>
          </ac:spMkLst>
        </pc:spChg>
        <pc:spChg chg="add mod">
          <ac:chgData name="Pedro Lopes" userId="40e56e32-8db9-4762-81b5-b0f12e13e658" providerId="ADAL" clId="{927BE64E-045D-F74A-AD55-372185734032}" dt="2024-01-09T16:55:45.104" v="124"/>
          <ac:spMkLst>
            <pc:docMk/>
            <pc:sldMk cId="2363429785" sldId="2147376778"/>
            <ac:spMk id="22" creationId="{287F54A8-716D-6821-8C2D-91A4B86C9D19}"/>
          </ac:spMkLst>
        </pc:spChg>
        <pc:picChg chg="add mod">
          <ac:chgData name="Pedro Lopes" userId="40e56e32-8db9-4762-81b5-b0f12e13e658" providerId="ADAL" clId="{927BE64E-045D-F74A-AD55-372185734032}" dt="2024-01-09T16:55:45.104" v="124"/>
          <ac:picMkLst>
            <pc:docMk/>
            <pc:sldMk cId="2363429785" sldId="2147376778"/>
            <ac:picMk id="5" creationId="{C1F1FDF2-5586-6832-8926-EDD358D31C7F}"/>
          </ac:picMkLst>
        </pc:picChg>
        <pc:picChg chg="add mod">
          <ac:chgData name="Pedro Lopes" userId="40e56e32-8db9-4762-81b5-b0f12e13e658" providerId="ADAL" clId="{927BE64E-045D-F74A-AD55-372185734032}" dt="2024-01-09T16:55:45.104" v="124"/>
          <ac:picMkLst>
            <pc:docMk/>
            <pc:sldMk cId="2363429785" sldId="2147376778"/>
            <ac:picMk id="7" creationId="{6572200C-4C37-771D-0BAA-CA589D4FA8AD}"/>
          </ac:picMkLst>
        </pc:picChg>
        <pc:picChg chg="add mod">
          <ac:chgData name="Pedro Lopes" userId="40e56e32-8db9-4762-81b5-b0f12e13e658" providerId="ADAL" clId="{927BE64E-045D-F74A-AD55-372185734032}" dt="2024-01-09T16:55:45.104" v="124"/>
          <ac:picMkLst>
            <pc:docMk/>
            <pc:sldMk cId="2363429785" sldId="2147376778"/>
            <ac:picMk id="9" creationId="{80C2E25B-C3FA-FF8F-A521-53AE0072A99E}"/>
          </ac:picMkLst>
        </pc:picChg>
        <pc:picChg chg="add mod">
          <ac:chgData name="Pedro Lopes" userId="40e56e32-8db9-4762-81b5-b0f12e13e658" providerId="ADAL" clId="{927BE64E-045D-F74A-AD55-372185734032}" dt="2024-01-09T16:55:45.104" v="124"/>
          <ac:picMkLst>
            <pc:docMk/>
            <pc:sldMk cId="2363429785" sldId="2147376778"/>
            <ac:picMk id="13" creationId="{024B880F-EF34-EC46-EEE4-224693D2482D}"/>
          </ac:picMkLst>
        </pc:picChg>
        <pc:picChg chg="add mod">
          <ac:chgData name="Pedro Lopes" userId="40e56e32-8db9-4762-81b5-b0f12e13e658" providerId="ADAL" clId="{927BE64E-045D-F74A-AD55-372185734032}" dt="2024-01-09T16:55:45.104" v="124"/>
          <ac:picMkLst>
            <pc:docMk/>
            <pc:sldMk cId="2363429785" sldId="2147376778"/>
            <ac:picMk id="15" creationId="{0FD7DC1C-1748-9B6F-48D6-98A738740860}"/>
          </ac:picMkLst>
        </pc:picChg>
        <pc:picChg chg="add mod">
          <ac:chgData name="Pedro Lopes" userId="40e56e32-8db9-4762-81b5-b0f12e13e658" providerId="ADAL" clId="{927BE64E-045D-F74A-AD55-372185734032}" dt="2024-01-09T16:55:45.104" v="124"/>
          <ac:picMkLst>
            <pc:docMk/>
            <pc:sldMk cId="2363429785" sldId="2147376778"/>
            <ac:picMk id="17" creationId="{77C4CECC-B0F9-634C-FD7C-267369416D8C}"/>
          </ac:picMkLst>
        </pc:picChg>
        <pc:picChg chg="add mod">
          <ac:chgData name="Pedro Lopes" userId="40e56e32-8db9-4762-81b5-b0f12e13e658" providerId="ADAL" clId="{927BE64E-045D-F74A-AD55-372185734032}" dt="2024-01-09T16:55:45.104" v="124"/>
          <ac:picMkLst>
            <pc:docMk/>
            <pc:sldMk cId="2363429785" sldId="2147376778"/>
            <ac:picMk id="19" creationId="{23E63891-CB63-2B4E-F101-ACED60ABD996}"/>
          </ac:picMkLst>
        </pc:picChg>
        <pc:cxnChg chg="add mod">
          <ac:chgData name="Pedro Lopes" userId="40e56e32-8db9-4762-81b5-b0f12e13e658" providerId="ADAL" clId="{927BE64E-045D-F74A-AD55-372185734032}" dt="2024-01-09T16:55:59.564" v="126" actId="208"/>
          <ac:cxnSpMkLst>
            <pc:docMk/>
            <pc:sldMk cId="2363429785" sldId="2147376778"/>
            <ac:cxnSpMk id="23" creationId="{D8F6A2ED-0374-1964-9A15-928A34B77210}"/>
          </ac:cxnSpMkLst>
        </pc:cxnChg>
        <pc:cxnChg chg="add mod">
          <ac:chgData name="Pedro Lopes" userId="40e56e32-8db9-4762-81b5-b0f12e13e658" providerId="ADAL" clId="{927BE64E-045D-F74A-AD55-372185734032}" dt="2024-01-09T16:55:59.564" v="126" actId="208"/>
          <ac:cxnSpMkLst>
            <pc:docMk/>
            <pc:sldMk cId="2363429785" sldId="2147376778"/>
            <ac:cxnSpMk id="24" creationId="{6A85E673-9EC6-5E7D-A8A6-62894B371EED}"/>
          </ac:cxnSpMkLst>
        </pc:cxnChg>
        <pc:cxnChg chg="add mod">
          <ac:chgData name="Pedro Lopes" userId="40e56e32-8db9-4762-81b5-b0f12e13e658" providerId="ADAL" clId="{927BE64E-045D-F74A-AD55-372185734032}" dt="2024-01-09T16:55:59.564" v="126" actId="208"/>
          <ac:cxnSpMkLst>
            <pc:docMk/>
            <pc:sldMk cId="2363429785" sldId="2147376778"/>
            <ac:cxnSpMk id="25" creationId="{81C33C07-0C84-29A2-88AA-EBB0F3991764}"/>
          </ac:cxnSpMkLst>
        </pc:cxnChg>
      </pc:sldChg>
      <pc:sldChg chg="addSp delSp modSp new mod delAnim modAnim">
        <pc:chgData name="Pedro Lopes" userId="40e56e32-8db9-4762-81b5-b0f12e13e658" providerId="ADAL" clId="{927BE64E-045D-F74A-AD55-372185734032}" dt="2024-01-09T16:58:22.040" v="159" actId="478"/>
        <pc:sldMkLst>
          <pc:docMk/>
          <pc:sldMk cId="1633286021" sldId="2147376779"/>
        </pc:sldMkLst>
        <pc:spChg chg="del">
          <ac:chgData name="Pedro Lopes" userId="40e56e32-8db9-4762-81b5-b0f12e13e658" providerId="ADAL" clId="{927BE64E-045D-F74A-AD55-372185734032}" dt="2024-01-09T16:57:57.301" v="149" actId="478"/>
          <ac:spMkLst>
            <pc:docMk/>
            <pc:sldMk cId="1633286021" sldId="2147376779"/>
            <ac:spMk id="3" creationId="{62F87A47-E18E-439F-8706-BD9E634E462A}"/>
          </ac:spMkLst>
        </pc:spChg>
        <pc:spChg chg="del">
          <ac:chgData name="Pedro Lopes" userId="40e56e32-8db9-4762-81b5-b0f12e13e658" providerId="ADAL" clId="{927BE64E-045D-F74A-AD55-372185734032}" dt="2024-01-09T16:58:03.522" v="153" actId="478"/>
          <ac:spMkLst>
            <pc:docMk/>
            <pc:sldMk cId="1633286021" sldId="2147376779"/>
            <ac:spMk id="4" creationId="{34938AFB-C020-CBF2-777A-5776EA092669}"/>
          </ac:spMkLst>
        </pc:spChg>
        <pc:spChg chg="add del mod">
          <ac:chgData name="Pedro Lopes" userId="40e56e32-8db9-4762-81b5-b0f12e13e658" providerId="ADAL" clId="{927BE64E-045D-F74A-AD55-372185734032}" dt="2024-01-09T16:58:10.921" v="157" actId="1076"/>
          <ac:spMkLst>
            <pc:docMk/>
            <pc:sldMk cId="1633286021" sldId="2147376779"/>
            <ac:spMk id="5" creationId="{6B9568EA-4855-8261-F0A8-278C45388809}"/>
          </ac:spMkLst>
        </pc:spChg>
        <pc:spChg chg="add mod">
          <ac:chgData name="Pedro Lopes" userId="40e56e32-8db9-4762-81b5-b0f12e13e658" providerId="ADAL" clId="{927BE64E-045D-F74A-AD55-372185734032}" dt="2024-01-09T16:57:55.531" v="148"/>
          <ac:spMkLst>
            <pc:docMk/>
            <pc:sldMk cId="1633286021" sldId="2147376779"/>
            <ac:spMk id="6" creationId="{AC41EEAD-2513-8339-BFE8-DF358C2F387E}"/>
          </ac:spMkLst>
        </pc:spChg>
        <pc:spChg chg="add mod">
          <ac:chgData name="Pedro Lopes" userId="40e56e32-8db9-4762-81b5-b0f12e13e658" providerId="ADAL" clId="{927BE64E-045D-F74A-AD55-372185734032}" dt="2024-01-09T16:57:55.531" v="148"/>
          <ac:spMkLst>
            <pc:docMk/>
            <pc:sldMk cId="1633286021" sldId="2147376779"/>
            <ac:spMk id="7" creationId="{16AEAA24-203F-0064-6399-F0458082319F}"/>
          </ac:spMkLst>
        </pc:spChg>
        <pc:spChg chg="add mod">
          <ac:chgData name="Pedro Lopes" userId="40e56e32-8db9-4762-81b5-b0f12e13e658" providerId="ADAL" clId="{927BE64E-045D-F74A-AD55-372185734032}" dt="2024-01-09T16:58:16.611" v="158" actId="207"/>
          <ac:spMkLst>
            <pc:docMk/>
            <pc:sldMk cId="1633286021" sldId="2147376779"/>
            <ac:spMk id="12" creationId="{4AE3015D-FC2B-74B5-68A9-6561581D4165}"/>
          </ac:spMkLst>
        </pc:spChg>
        <pc:spChg chg="add mod">
          <ac:chgData name="Pedro Lopes" userId="40e56e32-8db9-4762-81b5-b0f12e13e658" providerId="ADAL" clId="{927BE64E-045D-F74A-AD55-372185734032}" dt="2024-01-09T16:58:16.611" v="158" actId="207"/>
          <ac:spMkLst>
            <pc:docMk/>
            <pc:sldMk cId="1633286021" sldId="2147376779"/>
            <ac:spMk id="13" creationId="{972DBD8F-C113-C775-1AC0-B1381E58A811}"/>
          </ac:spMkLst>
        </pc:spChg>
        <pc:spChg chg="add mod">
          <ac:chgData name="Pedro Lopes" userId="40e56e32-8db9-4762-81b5-b0f12e13e658" providerId="ADAL" clId="{927BE64E-045D-F74A-AD55-372185734032}" dt="2024-01-09T16:58:16.611" v="158" actId="207"/>
          <ac:spMkLst>
            <pc:docMk/>
            <pc:sldMk cId="1633286021" sldId="2147376779"/>
            <ac:spMk id="14" creationId="{DD960FDB-A5C2-676F-2660-27B4F054EBB1}"/>
          </ac:spMkLst>
        </pc:spChg>
        <pc:spChg chg="add del mod">
          <ac:chgData name="Pedro Lopes" userId="40e56e32-8db9-4762-81b5-b0f12e13e658" providerId="ADAL" clId="{927BE64E-045D-F74A-AD55-372185734032}" dt="2024-01-09T16:58:22.040" v="159" actId="478"/>
          <ac:spMkLst>
            <pc:docMk/>
            <pc:sldMk cId="1633286021" sldId="2147376779"/>
            <ac:spMk id="15" creationId="{727277B7-6F86-10DA-DD62-DD8D790BF60C}"/>
          </ac:spMkLst>
        </pc:spChg>
        <pc:picChg chg="add mod">
          <ac:chgData name="Pedro Lopes" userId="40e56e32-8db9-4762-81b5-b0f12e13e658" providerId="ADAL" clId="{927BE64E-045D-F74A-AD55-372185734032}" dt="2024-01-09T16:57:55.531" v="148"/>
          <ac:picMkLst>
            <pc:docMk/>
            <pc:sldMk cId="1633286021" sldId="2147376779"/>
            <ac:picMk id="8" creationId="{475BEAFA-6BCC-0ADA-DE13-A2D40C259BD6}"/>
          </ac:picMkLst>
        </pc:picChg>
        <pc:picChg chg="add mod">
          <ac:chgData name="Pedro Lopes" userId="40e56e32-8db9-4762-81b5-b0f12e13e658" providerId="ADAL" clId="{927BE64E-045D-F74A-AD55-372185734032}" dt="2024-01-09T16:57:55.531" v="148"/>
          <ac:picMkLst>
            <pc:docMk/>
            <pc:sldMk cId="1633286021" sldId="2147376779"/>
            <ac:picMk id="9" creationId="{38DBB2C3-E2BB-662F-1787-CBDE77B87D6D}"/>
          </ac:picMkLst>
        </pc:picChg>
        <pc:picChg chg="add mod">
          <ac:chgData name="Pedro Lopes" userId="40e56e32-8db9-4762-81b5-b0f12e13e658" providerId="ADAL" clId="{927BE64E-045D-F74A-AD55-372185734032}" dt="2024-01-09T16:57:55.531" v="148"/>
          <ac:picMkLst>
            <pc:docMk/>
            <pc:sldMk cId="1633286021" sldId="2147376779"/>
            <ac:picMk id="10" creationId="{05953370-4859-7D67-684C-24239EC3E820}"/>
          </ac:picMkLst>
        </pc:picChg>
        <pc:picChg chg="add mod">
          <ac:chgData name="Pedro Lopes" userId="40e56e32-8db9-4762-81b5-b0f12e13e658" providerId="ADAL" clId="{927BE64E-045D-F74A-AD55-372185734032}" dt="2024-01-09T16:57:55.531" v="148"/>
          <ac:picMkLst>
            <pc:docMk/>
            <pc:sldMk cId="1633286021" sldId="2147376779"/>
            <ac:picMk id="11" creationId="{606646F5-8BDA-C331-079E-B7A0107FA908}"/>
          </ac:picMkLst>
        </pc:picChg>
      </pc:sldChg>
      <pc:sldChg chg="delSp modSp new del mod">
        <pc:chgData name="Pedro Lopes" userId="40e56e32-8db9-4762-81b5-b0f12e13e658" providerId="ADAL" clId="{927BE64E-045D-F74A-AD55-372185734032}" dt="2024-01-09T16:59:53.095" v="189" actId="2696"/>
        <pc:sldMkLst>
          <pc:docMk/>
          <pc:sldMk cId="3595139993" sldId="2147376780"/>
        </pc:sldMkLst>
        <pc:spChg chg="del">
          <ac:chgData name="Pedro Lopes" userId="40e56e32-8db9-4762-81b5-b0f12e13e658" providerId="ADAL" clId="{927BE64E-045D-F74A-AD55-372185734032}" dt="2024-01-09T16:59:38.957" v="165" actId="478"/>
          <ac:spMkLst>
            <pc:docMk/>
            <pc:sldMk cId="3595139993" sldId="2147376780"/>
            <ac:spMk id="3" creationId="{2F8173AC-418A-4FB6-1A1B-CB682F626209}"/>
          </ac:spMkLst>
        </pc:spChg>
        <pc:spChg chg="mod">
          <ac:chgData name="Pedro Lopes" userId="40e56e32-8db9-4762-81b5-b0f12e13e658" providerId="ADAL" clId="{927BE64E-045D-F74A-AD55-372185734032}" dt="2024-01-09T16:59:51.692" v="188" actId="1076"/>
          <ac:spMkLst>
            <pc:docMk/>
            <pc:sldMk cId="3595139993" sldId="2147376780"/>
            <ac:spMk id="4" creationId="{D64EC679-A9D2-0B1F-F9D4-C313A53288EE}"/>
          </ac:spMkLst>
        </pc:spChg>
      </pc:sldChg>
      <pc:sldChg chg="addSp delSp modSp new mod modAnim">
        <pc:chgData name="Pedro Lopes" userId="40e56e32-8db9-4762-81b5-b0f12e13e658" providerId="ADAL" clId="{927BE64E-045D-F74A-AD55-372185734032}" dt="2024-01-09T17:21:23.961" v="335" actId="1076"/>
        <pc:sldMkLst>
          <pc:docMk/>
          <pc:sldMk cId="4063010638" sldId="2147376780"/>
        </pc:sldMkLst>
        <pc:spChg chg="del">
          <ac:chgData name="Pedro Lopes" userId="40e56e32-8db9-4762-81b5-b0f12e13e658" providerId="ADAL" clId="{927BE64E-045D-F74A-AD55-372185734032}" dt="2024-01-09T17:15:22.482" v="283" actId="478"/>
          <ac:spMkLst>
            <pc:docMk/>
            <pc:sldMk cId="4063010638" sldId="2147376780"/>
            <ac:spMk id="3" creationId="{23408894-6A8F-988C-51C4-7DFE7A9239AF}"/>
          </ac:spMkLst>
        </pc:spChg>
        <pc:spChg chg="del">
          <ac:chgData name="Pedro Lopes" userId="40e56e32-8db9-4762-81b5-b0f12e13e658" providerId="ADAL" clId="{927BE64E-045D-F74A-AD55-372185734032}" dt="2024-01-09T17:15:20.422" v="282" actId="478"/>
          <ac:spMkLst>
            <pc:docMk/>
            <pc:sldMk cId="4063010638" sldId="2147376780"/>
            <ac:spMk id="4" creationId="{FFFA5158-5CDB-54ED-3510-68244FFDE65D}"/>
          </ac:spMkLst>
        </pc:spChg>
        <pc:spChg chg="mod">
          <ac:chgData name="Pedro Lopes" userId="40e56e32-8db9-4762-81b5-b0f12e13e658" providerId="ADAL" clId="{927BE64E-045D-F74A-AD55-372185734032}" dt="2024-01-09T17:15:29.520" v="285"/>
          <ac:spMkLst>
            <pc:docMk/>
            <pc:sldMk cId="4063010638" sldId="2147376780"/>
            <ac:spMk id="7" creationId="{7C35138F-9367-72EB-644C-D30F89B0C0D7}"/>
          </ac:spMkLst>
        </pc:spChg>
        <pc:spChg chg="mod">
          <ac:chgData name="Pedro Lopes" userId="40e56e32-8db9-4762-81b5-b0f12e13e658" providerId="ADAL" clId="{927BE64E-045D-F74A-AD55-372185734032}" dt="2024-01-09T17:15:29.520" v="285"/>
          <ac:spMkLst>
            <pc:docMk/>
            <pc:sldMk cId="4063010638" sldId="2147376780"/>
            <ac:spMk id="10" creationId="{2CCB09B9-3747-4A71-03B2-2383065BB08C}"/>
          </ac:spMkLst>
        </pc:spChg>
        <pc:spChg chg="add mod">
          <ac:chgData name="Pedro Lopes" userId="40e56e32-8db9-4762-81b5-b0f12e13e658" providerId="ADAL" clId="{927BE64E-045D-F74A-AD55-372185734032}" dt="2024-01-09T17:15:59.068" v="304" actId="1035"/>
          <ac:spMkLst>
            <pc:docMk/>
            <pc:sldMk cId="4063010638" sldId="2147376780"/>
            <ac:spMk id="28" creationId="{202A2AB3-2F8F-829E-936C-C58049464B3F}"/>
          </ac:spMkLst>
        </pc:spChg>
        <pc:grpChg chg="add mod">
          <ac:chgData name="Pedro Lopes" userId="40e56e32-8db9-4762-81b5-b0f12e13e658" providerId="ADAL" clId="{927BE64E-045D-F74A-AD55-372185734032}" dt="2024-01-09T17:21:21.011" v="334" actId="1076"/>
          <ac:grpSpMkLst>
            <pc:docMk/>
            <pc:sldMk cId="4063010638" sldId="2147376780"/>
            <ac:grpSpMk id="5" creationId="{9D527415-6D9E-E06A-F229-5A55F9AC6E7F}"/>
          </ac:grpSpMkLst>
        </pc:grpChg>
        <pc:grpChg chg="add mod">
          <ac:chgData name="Pedro Lopes" userId="40e56e32-8db9-4762-81b5-b0f12e13e658" providerId="ADAL" clId="{927BE64E-045D-F74A-AD55-372185734032}" dt="2024-01-09T17:21:21.011" v="334" actId="1076"/>
          <ac:grpSpMkLst>
            <pc:docMk/>
            <pc:sldMk cId="4063010638" sldId="2147376780"/>
            <ac:grpSpMk id="8" creationId="{756E3FC2-0F55-CD44-58AC-44989998F241}"/>
          </ac:grpSpMkLst>
        </pc:grpChg>
        <pc:grpChg chg="add mod">
          <ac:chgData name="Pedro Lopes" userId="40e56e32-8db9-4762-81b5-b0f12e13e658" providerId="ADAL" clId="{927BE64E-045D-F74A-AD55-372185734032}" dt="2024-01-09T17:15:29.520" v="285"/>
          <ac:grpSpMkLst>
            <pc:docMk/>
            <pc:sldMk cId="4063010638" sldId="2147376780"/>
            <ac:grpSpMk id="11" creationId="{0429863D-888B-0C9E-B44A-2853DD9699FE}"/>
          </ac:grpSpMkLst>
        </pc:grpChg>
        <pc:grpChg chg="add mod">
          <ac:chgData name="Pedro Lopes" userId="40e56e32-8db9-4762-81b5-b0f12e13e658" providerId="ADAL" clId="{927BE64E-045D-F74A-AD55-372185734032}" dt="2024-01-09T17:15:29.520" v="285"/>
          <ac:grpSpMkLst>
            <pc:docMk/>
            <pc:sldMk cId="4063010638" sldId="2147376780"/>
            <ac:grpSpMk id="17" creationId="{E4B925E9-D731-E3C9-799A-03FEEC33910E}"/>
          </ac:grpSpMkLst>
        </pc:grpChg>
        <pc:grpChg chg="mod">
          <ac:chgData name="Pedro Lopes" userId="40e56e32-8db9-4762-81b5-b0f12e13e658" providerId="ADAL" clId="{927BE64E-045D-F74A-AD55-372185734032}" dt="2024-01-09T17:15:29.520" v="285"/>
          <ac:grpSpMkLst>
            <pc:docMk/>
            <pc:sldMk cId="4063010638" sldId="2147376780"/>
            <ac:grpSpMk id="18" creationId="{E05A9C66-FA26-4786-BA75-25E58646679E}"/>
          </ac:grpSpMkLst>
        </pc:grpChg>
        <pc:grpChg chg="mod">
          <ac:chgData name="Pedro Lopes" userId="40e56e32-8db9-4762-81b5-b0f12e13e658" providerId="ADAL" clId="{927BE64E-045D-F74A-AD55-372185734032}" dt="2024-01-09T17:15:29.520" v="285"/>
          <ac:grpSpMkLst>
            <pc:docMk/>
            <pc:sldMk cId="4063010638" sldId="2147376780"/>
            <ac:grpSpMk id="22" creationId="{797C2E7D-B16D-DFDD-4DB5-6A615D276470}"/>
          </ac:grpSpMkLst>
        </pc:grpChg>
        <pc:grpChg chg="mod">
          <ac:chgData name="Pedro Lopes" userId="40e56e32-8db9-4762-81b5-b0f12e13e658" providerId="ADAL" clId="{927BE64E-045D-F74A-AD55-372185734032}" dt="2024-01-09T17:15:29.520" v="285"/>
          <ac:grpSpMkLst>
            <pc:docMk/>
            <pc:sldMk cId="4063010638" sldId="2147376780"/>
            <ac:grpSpMk id="23" creationId="{2E25B4A2-E7A2-4F6C-BAA6-63B79D6F66A4}"/>
          </ac:grpSpMkLst>
        </pc:grpChg>
        <pc:picChg chg="mod">
          <ac:chgData name="Pedro Lopes" userId="40e56e32-8db9-4762-81b5-b0f12e13e658" providerId="ADAL" clId="{927BE64E-045D-F74A-AD55-372185734032}" dt="2024-01-09T17:15:29.520" v="285"/>
          <ac:picMkLst>
            <pc:docMk/>
            <pc:sldMk cId="4063010638" sldId="2147376780"/>
            <ac:picMk id="6" creationId="{6F944A5B-F75E-5B8D-7D2B-2F7A6CD4A972}"/>
          </ac:picMkLst>
        </pc:picChg>
        <pc:picChg chg="mod">
          <ac:chgData name="Pedro Lopes" userId="40e56e32-8db9-4762-81b5-b0f12e13e658" providerId="ADAL" clId="{927BE64E-045D-F74A-AD55-372185734032}" dt="2024-01-09T17:15:29.520" v="285"/>
          <ac:picMkLst>
            <pc:docMk/>
            <pc:sldMk cId="4063010638" sldId="2147376780"/>
            <ac:picMk id="9" creationId="{F31A05CE-F18E-F6D9-D78D-9C1EA53E34CB}"/>
          </ac:picMkLst>
        </pc:picChg>
        <pc:picChg chg="mod">
          <ac:chgData name="Pedro Lopes" userId="40e56e32-8db9-4762-81b5-b0f12e13e658" providerId="ADAL" clId="{927BE64E-045D-F74A-AD55-372185734032}" dt="2024-01-09T17:15:29.520" v="285"/>
          <ac:picMkLst>
            <pc:docMk/>
            <pc:sldMk cId="4063010638" sldId="2147376780"/>
            <ac:picMk id="13" creationId="{9119C815-6188-0E21-7F01-854AA670B000}"/>
          </ac:picMkLst>
        </pc:picChg>
        <pc:picChg chg="add mod">
          <ac:chgData name="Pedro Lopes" userId="40e56e32-8db9-4762-81b5-b0f12e13e658" providerId="ADAL" clId="{927BE64E-045D-F74A-AD55-372185734032}" dt="2024-01-09T17:15:29.520" v="285"/>
          <ac:picMkLst>
            <pc:docMk/>
            <pc:sldMk cId="4063010638" sldId="2147376780"/>
            <ac:picMk id="14" creationId="{B5730120-09B3-1B3D-203D-BBAB1E05CD9E}"/>
          </ac:picMkLst>
        </pc:picChg>
        <pc:picChg chg="add mod">
          <ac:chgData name="Pedro Lopes" userId="40e56e32-8db9-4762-81b5-b0f12e13e658" providerId="ADAL" clId="{927BE64E-045D-F74A-AD55-372185734032}" dt="2024-01-09T17:21:21.011" v="334" actId="1076"/>
          <ac:picMkLst>
            <pc:docMk/>
            <pc:sldMk cId="4063010638" sldId="2147376780"/>
            <ac:picMk id="16" creationId="{B78E7857-2AD9-F1D9-8C3E-9D7177917FFD}"/>
          </ac:picMkLst>
        </pc:picChg>
        <pc:picChg chg="mod">
          <ac:chgData name="Pedro Lopes" userId="40e56e32-8db9-4762-81b5-b0f12e13e658" providerId="ADAL" clId="{927BE64E-045D-F74A-AD55-372185734032}" dt="2024-01-09T17:15:29.520" v="285"/>
          <ac:picMkLst>
            <pc:docMk/>
            <pc:sldMk cId="4063010638" sldId="2147376780"/>
            <ac:picMk id="19" creationId="{7BD15D04-1221-5AA5-F7DE-123F762E6C90}"/>
          </ac:picMkLst>
        </pc:picChg>
        <pc:picChg chg="mod">
          <ac:chgData name="Pedro Lopes" userId="40e56e32-8db9-4762-81b5-b0f12e13e658" providerId="ADAL" clId="{927BE64E-045D-F74A-AD55-372185734032}" dt="2024-01-09T17:15:29.520" v="285"/>
          <ac:picMkLst>
            <pc:docMk/>
            <pc:sldMk cId="4063010638" sldId="2147376780"/>
            <ac:picMk id="20" creationId="{4A0A2D94-4B2E-0382-270B-8A9CB1137C76}"/>
          </ac:picMkLst>
        </pc:picChg>
        <pc:picChg chg="mod">
          <ac:chgData name="Pedro Lopes" userId="40e56e32-8db9-4762-81b5-b0f12e13e658" providerId="ADAL" clId="{927BE64E-045D-F74A-AD55-372185734032}" dt="2024-01-09T17:15:29.520" v="285"/>
          <ac:picMkLst>
            <pc:docMk/>
            <pc:sldMk cId="4063010638" sldId="2147376780"/>
            <ac:picMk id="21" creationId="{4F7CED5E-FE9B-4139-48EC-7F90C365DD14}"/>
          </ac:picMkLst>
        </pc:picChg>
        <pc:picChg chg="mod">
          <ac:chgData name="Pedro Lopes" userId="40e56e32-8db9-4762-81b5-b0f12e13e658" providerId="ADAL" clId="{927BE64E-045D-F74A-AD55-372185734032}" dt="2024-01-09T17:15:29.520" v="285"/>
          <ac:picMkLst>
            <pc:docMk/>
            <pc:sldMk cId="4063010638" sldId="2147376780"/>
            <ac:picMk id="26" creationId="{5DF17BE5-9A3A-BBBC-72C1-776A5EA7153C}"/>
          </ac:picMkLst>
        </pc:picChg>
        <pc:picChg chg="mod">
          <ac:chgData name="Pedro Lopes" userId="40e56e32-8db9-4762-81b5-b0f12e13e658" providerId="ADAL" clId="{927BE64E-045D-F74A-AD55-372185734032}" dt="2024-01-09T17:15:29.520" v="285"/>
          <ac:picMkLst>
            <pc:docMk/>
            <pc:sldMk cId="4063010638" sldId="2147376780"/>
            <ac:picMk id="27" creationId="{9E44F21C-E809-037E-7E24-7E4691025760}"/>
          </ac:picMkLst>
        </pc:picChg>
        <pc:picChg chg="add del mod">
          <ac:chgData name="Pedro Lopes" userId="40e56e32-8db9-4762-81b5-b0f12e13e658" providerId="ADAL" clId="{927BE64E-045D-F74A-AD55-372185734032}" dt="2024-01-09T17:19:45.007" v="329" actId="478"/>
          <ac:picMkLst>
            <pc:docMk/>
            <pc:sldMk cId="4063010638" sldId="2147376780"/>
            <ac:picMk id="29" creationId="{85A1CF3D-1FA8-E02D-C3BB-198D16AB4905}"/>
          </ac:picMkLst>
        </pc:picChg>
        <pc:picChg chg="add mod">
          <ac:chgData name="Pedro Lopes" userId="40e56e32-8db9-4762-81b5-b0f12e13e658" providerId="ADAL" clId="{927BE64E-045D-F74A-AD55-372185734032}" dt="2024-01-09T17:21:23.961" v="335" actId="1076"/>
          <ac:picMkLst>
            <pc:docMk/>
            <pc:sldMk cId="4063010638" sldId="2147376780"/>
            <ac:picMk id="30" creationId="{57218F78-7EBE-FB70-042B-BD4CFF2E6A26}"/>
          </ac:picMkLst>
        </pc:picChg>
        <pc:cxnChg chg="mod">
          <ac:chgData name="Pedro Lopes" userId="40e56e32-8db9-4762-81b5-b0f12e13e658" providerId="ADAL" clId="{927BE64E-045D-F74A-AD55-372185734032}" dt="2024-01-09T17:15:29.520" v="285"/>
          <ac:cxnSpMkLst>
            <pc:docMk/>
            <pc:sldMk cId="4063010638" sldId="2147376780"/>
            <ac:cxnSpMk id="12" creationId="{9A5870D4-8290-2A5A-3206-0487AADF452E}"/>
          </ac:cxnSpMkLst>
        </pc:cxnChg>
        <pc:cxnChg chg="add mod">
          <ac:chgData name="Pedro Lopes" userId="40e56e32-8db9-4762-81b5-b0f12e13e658" providerId="ADAL" clId="{927BE64E-045D-F74A-AD55-372185734032}" dt="2024-01-09T17:21:21.011" v="334" actId="1076"/>
          <ac:cxnSpMkLst>
            <pc:docMk/>
            <pc:sldMk cId="4063010638" sldId="2147376780"/>
            <ac:cxnSpMk id="15" creationId="{6A27BFEF-0156-5F72-4D1E-75F215B73586}"/>
          </ac:cxnSpMkLst>
        </pc:cxnChg>
        <pc:cxnChg chg="mod">
          <ac:chgData name="Pedro Lopes" userId="40e56e32-8db9-4762-81b5-b0f12e13e658" providerId="ADAL" clId="{927BE64E-045D-F74A-AD55-372185734032}" dt="2024-01-09T17:15:29.520" v="285"/>
          <ac:cxnSpMkLst>
            <pc:docMk/>
            <pc:sldMk cId="4063010638" sldId="2147376780"/>
            <ac:cxnSpMk id="24" creationId="{F5E58F19-C4C3-57FB-7076-00A0B9837203}"/>
          </ac:cxnSpMkLst>
        </pc:cxnChg>
        <pc:cxnChg chg="mod">
          <ac:chgData name="Pedro Lopes" userId="40e56e32-8db9-4762-81b5-b0f12e13e658" providerId="ADAL" clId="{927BE64E-045D-F74A-AD55-372185734032}" dt="2024-01-09T17:15:29.520" v="285"/>
          <ac:cxnSpMkLst>
            <pc:docMk/>
            <pc:sldMk cId="4063010638" sldId="2147376780"/>
            <ac:cxnSpMk id="25" creationId="{CE7A6E6A-8545-9069-364A-273751F2655A}"/>
          </ac:cxnSpMkLst>
        </pc:cxnChg>
      </pc:sldChg>
      <pc:sldChg chg="addSp delSp modSp new mod">
        <pc:chgData name="Pedro Lopes" userId="40e56e32-8db9-4762-81b5-b0f12e13e658" providerId="ADAL" clId="{927BE64E-045D-F74A-AD55-372185734032}" dt="2024-01-09T17:16:31.836" v="313" actId="1076"/>
        <pc:sldMkLst>
          <pc:docMk/>
          <pc:sldMk cId="2103132814" sldId="2147376781"/>
        </pc:sldMkLst>
        <pc:spChg chg="del">
          <ac:chgData name="Pedro Lopes" userId="40e56e32-8db9-4762-81b5-b0f12e13e658" providerId="ADAL" clId="{927BE64E-045D-F74A-AD55-372185734032}" dt="2024-01-09T17:16:19.993" v="310" actId="478"/>
          <ac:spMkLst>
            <pc:docMk/>
            <pc:sldMk cId="2103132814" sldId="2147376781"/>
            <ac:spMk id="3" creationId="{52C71CE0-4E76-298A-95B1-49F611A76231}"/>
          </ac:spMkLst>
        </pc:spChg>
        <pc:spChg chg="mod">
          <ac:chgData name="Pedro Lopes" userId="40e56e32-8db9-4762-81b5-b0f12e13e658" providerId="ADAL" clId="{927BE64E-045D-F74A-AD55-372185734032}" dt="2024-01-09T17:16:12.358" v="308"/>
          <ac:spMkLst>
            <pc:docMk/>
            <pc:sldMk cId="2103132814" sldId="2147376781"/>
            <ac:spMk id="4" creationId="{BBA8EAD6-5184-B03D-2B48-6A37F8C2528E}"/>
          </ac:spMkLst>
        </pc:spChg>
        <pc:spChg chg="add mod">
          <ac:chgData name="Pedro Lopes" userId="40e56e32-8db9-4762-81b5-b0f12e13e658" providerId="ADAL" clId="{927BE64E-045D-F74A-AD55-372185734032}" dt="2024-01-09T17:16:20.237" v="311"/>
          <ac:spMkLst>
            <pc:docMk/>
            <pc:sldMk cId="2103132814" sldId="2147376781"/>
            <ac:spMk id="5" creationId="{F7D22916-C513-740B-D18E-7F853929995C}"/>
          </ac:spMkLst>
        </pc:spChg>
        <pc:spChg chg="mod">
          <ac:chgData name="Pedro Lopes" userId="40e56e32-8db9-4762-81b5-b0f12e13e658" providerId="ADAL" clId="{927BE64E-045D-F74A-AD55-372185734032}" dt="2024-01-09T17:16:20.237" v="311"/>
          <ac:spMkLst>
            <pc:docMk/>
            <pc:sldMk cId="2103132814" sldId="2147376781"/>
            <ac:spMk id="7" creationId="{E1BEE74D-8B4B-5F30-D2CC-F12083D6DE5F}"/>
          </ac:spMkLst>
        </pc:spChg>
        <pc:spChg chg="mod">
          <ac:chgData name="Pedro Lopes" userId="40e56e32-8db9-4762-81b5-b0f12e13e658" providerId="ADAL" clId="{927BE64E-045D-F74A-AD55-372185734032}" dt="2024-01-09T17:16:20.237" v="311"/>
          <ac:spMkLst>
            <pc:docMk/>
            <pc:sldMk cId="2103132814" sldId="2147376781"/>
            <ac:spMk id="8" creationId="{F2AE4674-EB82-F9A5-0063-E6837B0BEAFA}"/>
          </ac:spMkLst>
        </pc:spChg>
        <pc:spChg chg="mod">
          <ac:chgData name="Pedro Lopes" userId="40e56e32-8db9-4762-81b5-b0f12e13e658" providerId="ADAL" clId="{927BE64E-045D-F74A-AD55-372185734032}" dt="2024-01-09T17:16:20.237" v="311"/>
          <ac:spMkLst>
            <pc:docMk/>
            <pc:sldMk cId="2103132814" sldId="2147376781"/>
            <ac:spMk id="9" creationId="{C07F73BA-16BD-A5D7-D238-C667EA6B0E11}"/>
          </ac:spMkLst>
        </pc:spChg>
        <pc:spChg chg="add mod">
          <ac:chgData name="Pedro Lopes" userId="40e56e32-8db9-4762-81b5-b0f12e13e658" providerId="ADAL" clId="{927BE64E-045D-F74A-AD55-372185734032}" dt="2024-01-09T17:16:31.836" v="313" actId="1076"/>
          <ac:spMkLst>
            <pc:docMk/>
            <pc:sldMk cId="2103132814" sldId="2147376781"/>
            <ac:spMk id="10" creationId="{19CBFFB6-EAF7-E1CB-E093-6F957AF9B16F}"/>
          </ac:spMkLst>
        </pc:spChg>
        <pc:spChg chg="add mod">
          <ac:chgData name="Pedro Lopes" userId="40e56e32-8db9-4762-81b5-b0f12e13e658" providerId="ADAL" clId="{927BE64E-045D-F74A-AD55-372185734032}" dt="2024-01-09T17:16:27.159" v="312" actId="1076"/>
          <ac:spMkLst>
            <pc:docMk/>
            <pc:sldMk cId="2103132814" sldId="2147376781"/>
            <ac:spMk id="11" creationId="{BFDEB7EF-DEB8-43C7-5220-8C5D65547519}"/>
          </ac:spMkLst>
        </pc:spChg>
        <pc:grpChg chg="add mod">
          <ac:chgData name="Pedro Lopes" userId="40e56e32-8db9-4762-81b5-b0f12e13e658" providerId="ADAL" clId="{927BE64E-045D-F74A-AD55-372185734032}" dt="2024-01-09T17:16:27.159" v="312" actId="1076"/>
          <ac:grpSpMkLst>
            <pc:docMk/>
            <pc:sldMk cId="2103132814" sldId="2147376781"/>
            <ac:grpSpMk id="6" creationId="{C3CC3A9C-2DF9-81E3-DA33-62BCBD044999}"/>
          </ac:grpSpMkLst>
        </pc:grpChg>
        <pc:picChg chg="add mod">
          <ac:chgData name="Pedro Lopes" userId="40e56e32-8db9-4762-81b5-b0f12e13e658" providerId="ADAL" clId="{927BE64E-045D-F74A-AD55-372185734032}" dt="2024-01-09T17:16:27.159" v="312" actId="1076"/>
          <ac:picMkLst>
            <pc:docMk/>
            <pc:sldMk cId="2103132814" sldId="2147376781"/>
            <ac:picMk id="12" creationId="{FE546AEB-D781-31A4-E8BA-736F03EE2550}"/>
          </ac:picMkLst>
        </pc:picChg>
      </pc:sldChg>
      <pc:sldChg chg="addSp delSp modSp new del mod">
        <pc:chgData name="Pedro Lopes" userId="40e56e32-8db9-4762-81b5-b0f12e13e658" providerId="ADAL" clId="{927BE64E-045D-F74A-AD55-372185734032}" dt="2024-01-23T17:31:58.697" v="431" actId="2696"/>
        <pc:sldMkLst>
          <pc:docMk/>
          <pc:sldMk cId="3427763542" sldId="2147376782"/>
        </pc:sldMkLst>
        <pc:spChg chg="del">
          <ac:chgData name="Pedro Lopes" userId="40e56e32-8db9-4762-81b5-b0f12e13e658" providerId="ADAL" clId="{927BE64E-045D-F74A-AD55-372185734032}" dt="2024-01-09T17:17:08.073" v="318" actId="478"/>
          <ac:spMkLst>
            <pc:docMk/>
            <pc:sldMk cId="3427763542" sldId="2147376782"/>
            <ac:spMk id="3" creationId="{F0612DAD-9E15-AB90-07E0-8328B08CA211}"/>
          </ac:spMkLst>
        </pc:spChg>
        <pc:spChg chg="mod">
          <ac:chgData name="Pedro Lopes" userId="40e56e32-8db9-4762-81b5-b0f12e13e658" providerId="ADAL" clId="{927BE64E-045D-F74A-AD55-372185734032}" dt="2024-01-09T17:16:58.960" v="317"/>
          <ac:spMkLst>
            <pc:docMk/>
            <pc:sldMk cId="3427763542" sldId="2147376782"/>
            <ac:spMk id="4" creationId="{DF348B37-22B5-E528-5649-BB043C204815}"/>
          </ac:spMkLst>
        </pc:spChg>
        <pc:picChg chg="add mod">
          <ac:chgData name="Pedro Lopes" userId="40e56e32-8db9-4762-81b5-b0f12e13e658" providerId="ADAL" clId="{927BE64E-045D-F74A-AD55-372185734032}" dt="2024-01-09T17:17:12.191" v="320" actId="1076"/>
          <ac:picMkLst>
            <pc:docMk/>
            <pc:sldMk cId="3427763542" sldId="2147376782"/>
            <ac:picMk id="5" creationId="{F89FE6DF-B6EA-9807-B6C7-0CCFCA1406BA}"/>
          </ac:picMkLst>
        </pc:picChg>
        <pc:picChg chg="add mod">
          <ac:chgData name="Pedro Lopes" userId="40e56e32-8db9-4762-81b5-b0f12e13e658" providerId="ADAL" clId="{927BE64E-045D-F74A-AD55-372185734032}" dt="2024-01-09T17:17:26.987" v="324" actId="1076"/>
          <ac:picMkLst>
            <pc:docMk/>
            <pc:sldMk cId="3427763542" sldId="2147376782"/>
            <ac:picMk id="6" creationId="{8A6A66F9-E0DF-0B31-9DCC-7E890940392D}"/>
          </ac:picMkLst>
        </pc:picChg>
        <pc:picChg chg="add mod">
          <ac:chgData name="Pedro Lopes" userId="40e56e32-8db9-4762-81b5-b0f12e13e658" providerId="ADAL" clId="{927BE64E-045D-F74A-AD55-372185734032}" dt="2024-01-09T17:17:12.191" v="320" actId="1076"/>
          <ac:picMkLst>
            <pc:docMk/>
            <pc:sldMk cId="3427763542" sldId="2147376782"/>
            <ac:picMk id="7" creationId="{BBA3A6A4-8A4E-A092-D0E8-04557F463BFA}"/>
          </ac:picMkLst>
        </pc:picChg>
        <pc:picChg chg="add mod">
          <ac:chgData name="Pedro Lopes" userId="40e56e32-8db9-4762-81b5-b0f12e13e658" providerId="ADAL" clId="{927BE64E-045D-F74A-AD55-372185734032}" dt="2024-01-09T17:17:12.191" v="320" actId="1076"/>
          <ac:picMkLst>
            <pc:docMk/>
            <pc:sldMk cId="3427763542" sldId="2147376782"/>
            <ac:picMk id="8" creationId="{83F2365B-0D5B-8E5D-8255-681681628B00}"/>
          </ac:picMkLst>
        </pc:picChg>
        <pc:picChg chg="add mod">
          <ac:chgData name="Pedro Lopes" userId="40e56e32-8db9-4762-81b5-b0f12e13e658" providerId="ADAL" clId="{927BE64E-045D-F74A-AD55-372185734032}" dt="2024-01-09T17:17:22.960" v="323"/>
          <ac:picMkLst>
            <pc:docMk/>
            <pc:sldMk cId="3427763542" sldId="2147376782"/>
            <ac:picMk id="9" creationId="{C4A8C5DE-A2E9-A600-8C7F-FFDDFAD26B78}"/>
          </ac:picMkLst>
        </pc:picChg>
      </pc:sldChg>
      <pc:sldChg chg="addSp delSp modSp new mod">
        <pc:chgData name="Pedro Lopes" userId="40e56e32-8db9-4762-81b5-b0f12e13e658" providerId="ADAL" clId="{927BE64E-045D-F74A-AD55-372185734032}" dt="2024-01-09T17:27:32.618" v="341"/>
        <pc:sldMkLst>
          <pc:docMk/>
          <pc:sldMk cId="1065939050" sldId="2147376783"/>
        </pc:sldMkLst>
        <pc:spChg chg="del">
          <ac:chgData name="Pedro Lopes" userId="40e56e32-8db9-4762-81b5-b0f12e13e658" providerId="ADAL" clId="{927BE64E-045D-F74A-AD55-372185734032}" dt="2024-01-09T17:27:26.019" v="340" actId="478"/>
          <ac:spMkLst>
            <pc:docMk/>
            <pc:sldMk cId="1065939050" sldId="2147376783"/>
            <ac:spMk id="3" creationId="{F84C0B1D-6AD9-A5A2-B014-7210AFF14986}"/>
          </ac:spMkLst>
        </pc:spChg>
        <pc:spChg chg="mod">
          <ac:chgData name="Pedro Lopes" userId="40e56e32-8db9-4762-81b5-b0f12e13e658" providerId="ADAL" clId="{927BE64E-045D-F74A-AD55-372185734032}" dt="2024-01-09T17:27:24.735" v="339"/>
          <ac:spMkLst>
            <pc:docMk/>
            <pc:sldMk cId="1065939050" sldId="2147376783"/>
            <ac:spMk id="4" creationId="{CDDE6897-C035-2B45-EABB-E3F7CDD18C56}"/>
          </ac:spMkLst>
        </pc:spChg>
        <pc:picChg chg="add mod">
          <ac:chgData name="Pedro Lopes" userId="40e56e32-8db9-4762-81b5-b0f12e13e658" providerId="ADAL" clId="{927BE64E-045D-F74A-AD55-372185734032}" dt="2024-01-09T17:27:32.618" v="341"/>
          <ac:picMkLst>
            <pc:docMk/>
            <pc:sldMk cId="1065939050" sldId="2147376783"/>
            <ac:picMk id="5" creationId="{8FA078E9-15BA-8131-B3EB-8C899825E80A}"/>
          </ac:picMkLst>
        </pc:picChg>
        <pc:picChg chg="add mod">
          <ac:chgData name="Pedro Lopes" userId="40e56e32-8db9-4762-81b5-b0f12e13e658" providerId="ADAL" clId="{927BE64E-045D-F74A-AD55-372185734032}" dt="2024-01-09T17:27:32.618" v="341"/>
          <ac:picMkLst>
            <pc:docMk/>
            <pc:sldMk cId="1065939050" sldId="2147376783"/>
            <ac:picMk id="6" creationId="{F04ED6DF-ACB3-BDDD-D374-319B3983B8C7}"/>
          </ac:picMkLst>
        </pc:picChg>
        <pc:picChg chg="add mod">
          <ac:chgData name="Pedro Lopes" userId="40e56e32-8db9-4762-81b5-b0f12e13e658" providerId="ADAL" clId="{927BE64E-045D-F74A-AD55-372185734032}" dt="2024-01-09T17:27:32.618" v="341"/>
          <ac:picMkLst>
            <pc:docMk/>
            <pc:sldMk cId="1065939050" sldId="2147376783"/>
            <ac:picMk id="7" creationId="{B471097A-3622-54F6-5250-8E894BD8A0A3}"/>
          </ac:picMkLst>
        </pc:picChg>
        <pc:picChg chg="add mod">
          <ac:chgData name="Pedro Lopes" userId="40e56e32-8db9-4762-81b5-b0f12e13e658" providerId="ADAL" clId="{927BE64E-045D-F74A-AD55-372185734032}" dt="2024-01-09T17:27:32.618" v="341"/>
          <ac:picMkLst>
            <pc:docMk/>
            <pc:sldMk cId="1065939050" sldId="2147376783"/>
            <ac:picMk id="8" creationId="{145B5E02-6A7E-BB2B-529B-3A3EC6A861A3}"/>
          </ac:picMkLst>
        </pc:picChg>
        <pc:picChg chg="add mod">
          <ac:chgData name="Pedro Lopes" userId="40e56e32-8db9-4762-81b5-b0f12e13e658" providerId="ADAL" clId="{927BE64E-045D-F74A-AD55-372185734032}" dt="2024-01-09T17:27:32.618" v="341"/>
          <ac:picMkLst>
            <pc:docMk/>
            <pc:sldMk cId="1065939050" sldId="2147376783"/>
            <ac:picMk id="9" creationId="{D55446DB-DC51-2BAC-7801-80ED130761C2}"/>
          </ac:picMkLst>
        </pc:picChg>
      </pc:sldChg>
      <pc:sldChg chg="addSp delSp modSp new mod">
        <pc:chgData name="Pedro Lopes" userId="40e56e32-8db9-4762-81b5-b0f12e13e658" providerId="ADAL" clId="{927BE64E-045D-F74A-AD55-372185734032}" dt="2024-01-09T17:28:23.760" v="353" actId="1076"/>
        <pc:sldMkLst>
          <pc:docMk/>
          <pc:sldMk cId="3022274606" sldId="2147376784"/>
        </pc:sldMkLst>
        <pc:spChg chg="del">
          <ac:chgData name="Pedro Lopes" userId="40e56e32-8db9-4762-81b5-b0f12e13e658" providerId="ADAL" clId="{927BE64E-045D-F74A-AD55-372185734032}" dt="2024-01-09T17:27:57.881" v="346" actId="478"/>
          <ac:spMkLst>
            <pc:docMk/>
            <pc:sldMk cId="3022274606" sldId="2147376784"/>
            <ac:spMk id="3" creationId="{30FB847B-2CA6-BE80-D589-4209CB975377}"/>
          </ac:spMkLst>
        </pc:spChg>
        <pc:spChg chg="mod">
          <ac:chgData name="Pedro Lopes" userId="40e56e32-8db9-4762-81b5-b0f12e13e658" providerId="ADAL" clId="{927BE64E-045D-F74A-AD55-372185734032}" dt="2024-01-09T17:27:45.698" v="345"/>
          <ac:spMkLst>
            <pc:docMk/>
            <pc:sldMk cId="3022274606" sldId="2147376784"/>
            <ac:spMk id="4" creationId="{40D23108-73D8-5037-0C6F-184E0DD6D372}"/>
          </ac:spMkLst>
        </pc:spChg>
        <pc:spChg chg="add mod">
          <ac:chgData name="Pedro Lopes" userId="40e56e32-8db9-4762-81b5-b0f12e13e658" providerId="ADAL" clId="{927BE64E-045D-F74A-AD55-372185734032}" dt="2024-01-09T17:28:14.396" v="349" actId="1076"/>
          <ac:spMkLst>
            <pc:docMk/>
            <pc:sldMk cId="3022274606" sldId="2147376784"/>
            <ac:spMk id="6" creationId="{FA38D10A-2096-F9FC-B1D0-E5C1BEC713D7}"/>
          </ac:spMkLst>
        </pc:spChg>
        <pc:picChg chg="add mod">
          <ac:chgData name="Pedro Lopes" userId="40e56e32-8db9-4762-81b5-b0f12e13e658" providerId="ADAL" clId="{927BE64E-045D-F74A-AD55-372185734032}" dt="2024-01-09T17:28:16.613" v="350" actId="1076"/>
          <ac:picMkLst>
            <pc:docMk/>
            <pc:sldMk cId="3022274606" sldId="2147376784"/>
            <ac:picMk id="5" creationId="{DDED6110-18AC-C028-B02A-63892B0BBDB0}"/>
          </ac:picMkLst>
        </pc:picChg>
        <pc:picChg chg="add mod">
          <ac:chgData name="Pedro Lopes" userId="40e56e32-8db9-4762-81b5-b0f12e13e658" providerId="ADAL" clId="{927BE64E-045D-F74A-AD55-372185734032}" dt="2024-01-09T17:28:19.211" v="351" actId="1076"/>
          <ac:picMkLst>
            <pc:docMk/>
            <pc:sldMk cId="3022274606" sldId="2147376784"/>
            <ac:picMk id="7" creationId="{080BDB18-A6D5-B0AB-9808-8F4685DDB1D9}"/>
          </ac:picMkLst>
        </pc:picChg>
        <pc:picChg chg="add mod">
          <ac:chgData name="Pedro Lopes" userId="40e56e32-8db9-4762-81b5-b0f12e13e658" providerId="ADAL" clId="{927BE64E-045D-F74A-AD55-372185734032}" dt="2024-01-09T17:28:21.762" v="352" actId="1076"/>
          <ac:picMkLst>
            <pc:docMk/>
            <pc:sldMk cId="3022274606" sldId="2147376784"/>
            <ac:picMk id="8" creationId="{07942E9B-9C73-4D46-EA2E-E292D5242483}"/>
          </ac:picMkLst>
        </pc:picChg>
        <pc:picChg chg="add mod">
          <ac:chgData name="Pedro Lopes" userId="40e56e32-8db9-4762-81b5-b0f12e13e658" providerId="ADAL" clId="{927BE64E-045D-F74A-AD55-372185734032}" dt="2024-01-09T17:28:23.760" v="353" actId="1076"/>
          <ac:picMkLst>
            <pc:docMk/>
            <pc:sldMk cId="3022274606" sldId="2147376784"/>
            <ac:picMk id="9" creationId="{96FEEF35-7751-998B-00F2-F751AB0B32F3}"/>
          </ac:picMkLst>
        </pc:picChg>
      </pc:sldChg>
      <pc:sldChg chg="addSp delSp modSp new mod">
        <pc:chgData name="Pedro Lopes" userId="40e56e32-8db9-4762-81b5-b0f12e13e658" providerId="ADAL" clId="{927BE64E-045D-F74A-AD55-372185734032}" dt="2024-01-09T17:30:27.534" v="365" actId="1076"/>
        <pc:sldMkLst>
          <pc:docMk/>
          <pc:sldMk cId="1235642467" sldId="2147376785"/>
        </pc:sldMkLst>
        <pc:spChg chg="del">
          <ac:chgData name="Pedro Lopes" userId="40e56e32-8db9-4762-81b5-b0f12e13e658" providerId="ADAL" clId="{927BE64E-045D-F74A-AD55-372185734032}" dt="2024-01-09T17:28:45.062" v="359" actId="478"/>
          <ac:spMkLst>
            <pc:docMk/>
            <pc:sldMk cId="1235642467" sldId="2147376785"/>
            <ac:spMk id="3" creationId="{5D686D13-DC38-B785-8AA8-0860AD58C148}"/>
          </ac:spMkLst>
        </pc:spChg>
        <pc:spChg chg="mod">
          <ac:chgData name="Pedro Lopes" userId="40e56e32-8db9-4762-81b5-b0f12e13e658" providerId="ADAL" clId="{927BE64E-045D-F74A-AD55-372185734032}" dt="2024-01-09T17:28:38.305" v="358" actId="20577"/>
          <ac:spMkLst>
            <pc:docMk/>
            <pc:sldMk cId="1235642467" sldId="2147376785"/>
            <ac:spMk id="4" creationId="{42B0A85B-9166-0CC3-D5AA-41DCB99C5050}"/>
          </ac:spMkLst>
        </pc:spChg>
        <pc:spChg chg="add mod">
          <ac:chgData name="Pedro Lopes" userId="40e56e32-8db9-4762-81b5-b0f12e13e658" providerId="ADAL" clId="{927BE64E-045D-F74A-AD55-372185734032}" dt="2024-01-09T17:30:27.534" v="365" actId="1076"/>
          <ac:spMkLst>
            <pc:docMk/>
            <pc:sldMk cId="1235642467" sldId="2147376785"/>
            <ac:spMk id="5" creationId="{C8F56B11-CD01-B5CB-E540-47BA26D10B01}"/>
          </ac:spMkLst>
        </pc:spChg>
      </pc:sldChg>
      <pc:sldMasterChg chg="addSldLayout delSldLayout">
        <pc:chgData name="Pedro Lopes" userId="40e56e32-8db9-4762-81b5-b0f12e13e658" providerId="ADAL" clId="{927BE64E-045D-F74A-AD55-372185734032}" dt="2024-01-09T17:28:49.542" v="363" actId="2696"/>
        <pc:sldMasterMkLst>
          <pc:docMk/>
          <pc:sldMasterMk cId="3930138514" sldId="2147483722"/>
        </pc:sldMasterMkLst>
        <pc:sldLayoutChg chg="del">
          <pc:chgData name="Pedro Lopes" userId="40e56e32-8db9-4762-81b5-b0f12e13e658" providerId="ADAL" clId="{927BE64E-045D-F74A-AD55-372185734032}" dt="2024-01-09T17:28:49.542" v="363" actId="2696"/>
          <pc:sldLayoutMkLst>
            <pc:docMk/>
            <pc:sldMasterMk cId="3930138514" sldId="2147483722"/>
            <pc:sldLayoutMk cId="1166352492" sldId="2147483737"/>
          </pc:sldLayoutMkLst>
        </pc:sldLayoutChg>
        <pc:sldLayoutChg chg="del">
          <pc:chgData name="Pedro Lopes" userId="40e56e32-8db9-4762-81b5-b0f12e13e658" providerId="ADAL" clId="{927BE64E-045D-F74A-AD55-372185734032}" dt="2024-01-09T17:16:00.723" v="306" actId="2696"/>
          <pc:sldLayoutMkLst>
            <pc:docMk/>
            <pc:sldMasterMk cId="3930138514" sldId="2147483722"/>
            <pc:sldLayoutMk cId="1348123237" sldId="2147483738"/>
          </pc:sldLayoutMkLst>
        </pc:sldLayoutChg>
        <pc:sldLayoutChg chg="add del">
          <pc:chgData name="Pedro Lopes" userId="40e56e32-8db9-4762-81b5-b0f12e13e658" providerId="ADAL" clId="{927BE64E-045D-F74A-AD55-372185734032}" dt="2024-01-09T17:16:48.291" v="315" actId="2696"/>
          <pc:sldLayoutMkLst>
            <pc:docMk/>
            <pc:sldMasterMk cId="3930138514" sldId="2147483722"/>
            <pc:sldLayoutMk cId="3321681827" sldId="2147483739"/>
          </pc:sldLayoutMkLst>
        </pc:sldLayoutChg>
        <pc:sldLayoutChg chg="del">
          <pc:chgData name="Pedro Lopes" userId="40e56e32-8db9-4762-81b5-b0f12e13e658" providerId="ADAL" clId="{927BE64E-045D-F74A-AD55-372185734032}" dt="2024-01-09T17:27:37.471" v="343" actId="2696"/>
          <pc:sldLayoutMkLst>
            <pc:docMk/>
            <pc:sldMasterMk cId="3930138514" sldId="2147483722"/>
            <pc:sldLayoutMk cId="1877024913" sldId="2147483740"/>
          </pc:sldLayoutMkLst>
        </pc:sldLayoutChg>
        <pc:sldLayoutChg chg="del">
          <pc:chgData name="Pedro Lopes" userId="40e56e32-8db9-4762-81b5-b0f12e13e658" providerId="ADAL" clId="{927BE64E-045D-F74A-AD55-372185734032}" dt="2024-01-09T17:28:28.052" v="355" actId="2696"/>
          <pc:sldLayoutMkLst>
            <pc:docMk/>
            <pc:sldMasterMk cId="3930138514" sldId="2147483722"/>
            <pc:sldLayoutMk cId="512744568" sldId="2147483741"/>
          </pc:sldLayoutMkLst>
        </pc:sldLayoutChg>
      </pc:sldMasterChg>
    </pc:docChg>
  </pc:docChgLst>
  <pc:docChgLst>
    <pc:chgData name="Pedro Lopes" userId="40e56e32-8db9-4762-81b5-b0f12e13e658" providerId="ADAL" clId="{9DC7948A-5972-4540-A63B-839AE57CDA86}"/>
    <pc:docChg chg="custSel addSld delSld modSld">
      <pc:chgData name="Pedro Lopes" userId="40e56e32-8db9-4762-81b5-b0f12e13e658" providerId="ADAL" clId="{9DC7948A-5972-4540-A63B-839AE57CDA86}" dt="2023-04-03T20:37:42.097" v="164"/>
      <pc:docMkLst>
        <pc:docMk/>
      </pc:docMkLst>
      <pc:sldChg chg="modSp mod">
        <pc:chgData name="Pedro Lopes" userId="40e56e32-8db9-4762-81b5-b0f12e13e658" providerId="ADAL" clId="{9DC7948A-5972-4540-A63B-839AE57CDA86}" dt="2023-03-30T17:45:00.815" v="5" actId="20577"/>
        <pc:sldMkLst>
          <pc:docMk/>
          <pc:sldMk cId="3611892251" sldId="256"/>
        </pc:sldMkLst>
        <pc:spChg chg="mod">
          <ac:chgData name="Pedro Lopes" userId="40e56e32-8db9-4762-81b5-b0f12e13e658" providerId="ADAL" clId="{9DC7948A-5972-4540-A63B-839AE57CDA86}" dt="2023-03-30T17:45:00.815" v="5" actId="20577"/>
          <ac:spMkLst>
            <pc:docMk/>
            <pc:sldMk cId="3611892251" sldId="256"/>
            <ac:spMk id="2" creationId="{9D2C8B65-E568-CE41-7B6A-D644191478C1}"/>
          </ac:spMkLst>
        </pc:spChg>
      </pc:sldChg>
      <pc:sldChg chg="modSp modAnim">
        <pc:chgData name="Pedro Lopes" userId="40e56e32-8db9-4762-81b5-b0f12e13e658" providerId="ADAL" clId="{9DC7948A-5972-4540-A63B-839AE57CDA86}" dt="2023-03-31T12:50:49.093" v="86" actId="20577"/>
        <pc:sldMkLst>
          <pc:docMk/>
          <pc:sldMk cId="237544605" sldId="292"/>
        </pc:sldMkLst>
        <pc:spChg chg="mod">
          <ac:chgData name="Pedro Lopes" userId="40e56e32-8db9-4762-81b5-b0f12e13e658" providerId="ADAL" clId="{9DC7948A-5972-4540-A63B-839AE57CDA86}" dt="2023-03-31T12:50:49.093" v="86" actId="20577"/>
          <ac:spMkLst>
            <pc:docMk/>
            <pc:sldMk cId="237544605" sldId="292"/>
            <ac:spMk id="6" creationId="{07290D52-CF77-A427-6486-155B0C6BC536}"/>
          </ac:spMkLst>
        </pc:spChg>
      </pc:sldChg>
      <pc:sldChg chg="add">
        <pc:chgData name="Pedro Lopes" userId="40e56e32-8db9-4762-81b5-b0f12e13e658" providerId="ADAL" clId="{9DC7948A-5972-4540-A63B-839AE57CDA86}" dt="2023-03-31T12:50:03.178" v="81"/>
        <pc:sldMkLst>
          <pc:docMk/>
          <pc:sldMk cId="2799207890" sldId="2147376623"/>
        </pc:sldMkLst>
      </pc:sldChg>
      <pc:sldChg chg="addSp delSp modSp mod delCm modCm">
        <pc:chgData name="Pedro Lopes" userId="40e56e32-8db9-4762-81b5-b0f12e13e658" providerId="ADAL" clId="{9DC7948A-5972-4540-A63B-839AE57CDA86}" dt="2023-04-03T20:37:42.097" v="164"/>
        <pc:sldMkLst>
          <pc:docMk/>
          <pc:sldMk cId="747835074" sldId="2147376629"/>
        </pc:sldMkLst>
        <pc:spChg chg="del">
          <ac:chgData name="Pedro Lopes" userId="40e56e32-8db9-4762-81b5-b0f12e13e658" providerId="ADAL" clId="{9DC7948A-5972-4540-A63B-839AE57CDA86}" dt="2023-04-03T20:37:38.348" v="163" actId="478"/>
          <ac:spMkLst>
            <pc:docMk/>
            <pc:sldMk cId="747835074" sldId="2147376629"/>
            <ac:spMk id="10" creationId="{6819E0F9-93F6-68FE-D75D-E166085E8CB0}"/>
          </ac:spMkLst>
        </pc:spChg>
        <pc:spChg chg="mod">
          <ac:chgData name="Pedro Lopes" userId="40e56e32-8db9-4762-81b5-b0f12e13e658" providerId="ADAL" clId="{9DC7948A-5972-4540-A63B-839AE57CDA86}" dt="2023-04-03T20:37:34.357" v="162" actId="1036"/>
          <ac:spMkLst>
            <pc:docMk/>
            <pc:sldMk cId="747835074" sldId="2147376629"/>
            <ac:spMk id="12" creationId="{472E404B-E78C-D23B-1126-5E5FEAFC6308}"/>
          </ac:spMkLst>
        </pc:spChg>
        <pc:picChg chg="add mod">
          <ac:chgData name="Pedro Lopes" userId="40e56e32-8db9-4762-81b5-b0f12e13e658" providerId="ADAL" clId="{9DC7948A-5972-4540-A63B-839AE57CDA86}" dt="2023-04-03T20:37:25.075" v="154" actId="1076"/>
          <ac:picMkLst>
            <pc:docMk/>
            <pc:sldMk cId="747835074" sldId="2147376629"/>
            <ac:picMk id="2" creationId="{65ABE6EC-BC1B-D37A-3687-A26B3982DFC5}"/>
          </ac:picMkLst>
        </pc:picChg>
        <pc:picChg chg="del">
          <ac:chgData name="Pedro Lopes" userId="40e56e32-8db9-4762-81b5-b0f12e13e658" providerId="ADAL" clId="{9DC7948A-5972-4540-A63B-839AE57CDA86}" dt="2023-04-03T20:37:12.326" v="149" actId="478"/>
          <ac:picMkLst>
            <pc:docMk/>
            <pc:sldMk cId="747835074" sldId="2147376629"/>
            <ac:picMk id="11" creationId="{482B4996-32F4-8076-3954-E310C1EF3FD2}"/>
          </ac:picMkLst>
        </pc:picChg>
        <pc:picChg chg="del">
          <ac:chgData name="Pedro Lopes" userId="40e56e32-8db9-4762-81b5-b0f12e13e658" providerId="ADAL" clId="{9DC7948A-5972-4540-A63B-839AE57CDA86}" dt="2023-04-03T20:37:14.564" v="151" actId="478"/>
          <ac:picMkLst>
            <pc:docMk/>
            <pc:sldMk cId="747835074" sldId="2147376629"/>
            <ac:picMk id="13" creationId="{38CF1FBF-418D-38F9-0DDF-279B5DB2316B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Pedro Lopes" userId="40e56e32-8db9-4762-81b5-b0f12e13e658" providerId="ADAL" clId="{9DC7948A-5972-4540-A63B-839AE57CDA86}" dt="2023-04-03T20:37:42.097" v="164"/>
              <pc2:cmMkLst xmlns:pc2="http://schemas.microsoft.com/office/powerpoint/2019/9/main/command">
                <pc:docMk/>
                <pc:sldMk cId="747835074" sldId="2147376629"/>
                <pc2:cmMk id="{27890633-3BE4-4399-BA76-C8D1999521C8}"/>
              </pc2:cmMkLst>
            </pc226:cmChg>
          </p:ext>
        </pc:extLst>
      </pc:sldChg>
      <pc:sldChg chg="del">
        <pc:chgData name="Pedro Lopes" userId="40e56e32-8db9-4762-81b5-b0f12e13e658" providerId="ADAL" clId="{9DC7948A-5972-4540-A63B-839AE57CDA86}" dt="2023-03-31T12:50:35.118" v="82" actId="2696"/>
        <pc:sldMkLst>
          <pc:docMk/>
          <pc:sldMk cId="12790098" sldId="2147376742"/>
        </pc:sldMkLst>
      </pc:sldChg>
      <pc:sldChg chg="add">
        <pc:chgData name="Pedro Lopes" userId="40e56e32-8db9-4762-81b5-b0f12e13e658" providerId="ADAL" clId="{9DC7948A-5972-4540-A63B-839AE57CDA86}" dt="2023-03-31T12:50:39.326" v="83"/>
        <pc:sldMkLst>
          <pc:docMk/>
          <pc:sldMk cId="2207599240" sldId="2147376742"/>
        </pc:sldMkLst>
      </pc:sldChg>
      <pc:sldChg chg="modSp">
        <pc:chgData name="Pedro Lopes" userId="40e56e32-8db9-4762-81b5-b0f12e13e658" providerId="ADAL" clId="{9DC7948A-5972-4540-A63B-839AE57CDA86}" dt="2023-03-31T12:48:55.239" v="80" actId="20577"/>
        <pc:sldMkLst>
          <pc:docMk/>
          <pc:sldMk cId="1337754654" sldId="2147376747"/>
        </pc:sldMkLst>
        <pc:spChg chg="mod">
          <ac:chgData name="Pedro Lopes" userId="40e56e32-8db9-4762-81b5-b0f12e13e658" providerId="ADAL" clId="{9DC7948A-5972-4540-A63B-839AE57CDA86}" dt="2023-03-31T12:48:55.239" v="80" actId="20577"/>
          <ac:spMkLst>
            <pc:docMk/>
            <pc:sldMk cId="1337754654" sldId="2147376747"/>
            <ac:spMk id="6" creationId="{BC23DE18-ED7F-2D91-BDC8-92EF3DFEDD82}"/>
          </ac:spMkLst>
        </pc:spChg>
      </pc:sldChg>
      <pc:sldChg chg="modSp">
        <pc:chgData name="Pedro Lopes" userId="40e56e32-8db9-4762-81b5-b0f12e13e658" providerId="ADAL" clId="{9DC7948A-5972-4540-A63B-839AE57CDA86}" dt="2023-03-31T12:48:43.795" v="61" actId="20577"/>
        <pc:sldMkLst>
          <pc:docMk/>
          <pc:sldMk cId="782010024" sldId="2147376748"/>
        </pc:sldMkLst>
        <pc:spChg chg="mod">
          <ac:chgData name="Pedro Lopes" userId="40e56e32-8db9-4762-81b5-b0f12e13e658" providerId="ADAL" clId="{9DC7948A-5972-4540-A63B-839AE57CDA86}" dt="2023-03-31T12:48:43.795" v="61" actId="20577"/>
          <ac:spMkLst>
            <pc:docMk/>
            <pc:sldMk cId="782010024" sldId="2147376748"/>
            <ac:spMk id="24" creationId="{831C1CAC-CAEC-7335-44F3-28DA4FB5F4BF}"/>
          </ac:spMkLst>
        </pc:spChg>
      </pc:sldChg>
      <pc:sldChg chg="addSp delSp modSp new mod modAnim">
        <pc:chgData name="Pedro Lopes" userId="40e56e32-8db9-4762-81b5-b0f12e13e658" providerId="ADAL" clId="{9DC7948A-5972-4540-A63B-839AE57CDA86}" dt="2023-04-03T20:35:58.180" v="148"/>
        <pc:sldMkLst>
          <pc:docMk/>
          <pc:sldMk cId="1175619145" sldId="2147376750"/>
        </pc:sldMkLst>
        <pc:spChg chg="del">
          <ac:chgData name="Pedro Lopes" userId="40e56e32-8db9-4762-81b5-b0f12e13e658" providerId="ADAL" clId="{9DC7948A-5972-4540-A63B-839AE57CDA86}" dt="2023-04-03T20:14:40.584" v="99" actId="478"/>
          <ac:spMkLst>
            <pc:docMk/>
            <pc:sldMk cId="1175619145" sldId="2147376750"/>
            <ac:spMk id="2" creationId="{83907DD6-2B23-F8AE-6131-FCB07841CFA0}"/>
          </ac:spMkLst>
        </pc:spChg>
        <pc:spChg chg="del">
          <ac:chgData name="Pedro Lopes" userId="40e56e32-8db9-4762-81b5-b0f12e13e658" providerId="ADAL" clId="{9DC7948A-5972-4540-A63B-839AE57CDA86}" dt="2023-04-03T20:14:43.605" v="100" actId="478"/>
          <ac:spMkLst>
            <pc:docMk/>
            <pc:sldMk cId="1175619145" sldId="2147376750"/>
            <ac:spMk id="3" creationId="{F38033AD-32C5-0914-73A5-603B5DA28822}"/>
          </ac:spMkLst>
        </pc:spChg>
        <pc:spChg chg="mod">
          <ac:chgData name="Pedro Lopes" userId="40e56e32-8db9-4762-81b5-b0f12e13e658" providerId="ADAL" clId="{9DC7948A-5972-4540-A63B-839AE57CDA86}" dt="2023-04-03T20:14:38.840" v="98" actId="20577"/>
          <ac:spMkLst>
            <pc:docMk/>
            <pc:sldMk cId="1175619145" sldId="2147376750"/>
            <ac:spMk id="5" creationId="{32B1FD47-3DA5-FD56-390F-32A5EC9232E7}"/>
          </ac:spMkLst>
        </pc:spChg>
        <pc:spChg chg="add del mod">
          <ac:chgData name="Pedro Lopes" userId="40e56e32-8db9-4762-81b5-b0f12e13e658" providerId="ADAL" clId="{9DC7948A-5972-4540-A63B-839AE57CDA86}" dt="2023-04-03T20:16:08.907" v="105" actId="478"/>
          <ac:spMkLst>
            <pc:docMk/>
            <pc:sldMk cId="1175619145" sldId="2147376750"/>
            <ac:spMk id="6" creationId="{5B046CBA-D752-EF1F-59A9-7B2FAAB7C39D}"/>
          </ac:spMkLst>
        </pc:spChg>
        <pc:spChg chg="add mod">
          <ac:chgData name="Pedro Lopes" userId="40e56e32-8db9-4762-81b5-b0f12e13e658" providerId="ADAL" clId="{9DC7948A-5972-4540-A63B-839AE57CDA86}" dt="2023-04-03T20:20:41.500" v="136" actId="20577"/>
          <ac:spMkLst>
            <pc:docMk/>
            <pc:sldMk cId="1175619145" sldId="2147376750"/>
            <ac:spMk id="7" creationId="{A15A8D10-6293-7074-B39A-E755096A7677}"/>
          </ac:spMkLst>
        </pc:spChg>
        <pc:spChg chg="add mod">
          <ac:chgData name="Pedro Lopes" userId="40e56e32-8db9-4762-81b5-b0f12e13e658" providerId="ADAL" clId="{9DC7948A-5972-4540-A63B-839AE57CDA86}" dt="2023-04-03T20:19:44.730" v="135" actId="2711"/>
          <ac:spMkLst>
            <pc:docMk/>
            <pc:sldMk cId="1175619145" sldId="2147376750"/>
            <ac:spMk id="8" creationId="{478ADA79-2D47-85EA-B2E9-245EB682ADBE}"/>
          </ac:spMkLst>
        </pc:spChg>
        <pc:spChg chg="add mod">
          <ac:chgData name="Pedro Lopes" userId="40e56e32-8db9-4762-81b5-b0f12e13e658" providerId="ADAL" clId="{9DC7948A-5972-4540-A63B-839AE57CDA86}" dt="2023-04-03T20:19:44.730" v="135" actId="2711"/>
          <ac:spMkLst>
            <pc:docMk/>
            <pc:sldMk cId="1175619145" sldId="2147376750"/>
            <ac:spMk id="9" creationId="{A72942A7-EE74-349A-0F40-3012A212C46B}"/>
          </ac:spMkLst>
        </pc:spChg>
        <pc:spChg chg="add mod">
          <ac:chgData name="Pedro Lopes" userId="40e56e32-8db9-4762-81b5-b0f12e13e658" providerId="ADAL" clId="{9DC7948A-5972-4540-A63B-839AE57CDA86}" dt="2023-04-03T20:19:44.730" v="135" actId="2711"/>
          <ac:spMkLst>
            <pc:docMk/>
            <pc:sldMk cId="1175619145" sldId="2147376750"/>
            <ac:spMk id="10" creationId="{5BB06FB5-18DE-E686-A987-A4FE69465FA1}"/>
          </ac:spMkLst>
        </pc:spChg>
        <pc:spChg chg="add mod">
          <ac:chgData name="Pedro Lopes" userId="40e56e32-8db9-4762-81b5-b0f12e13e658" providerId="ADAL" clId="{9DC7948A-5972-4540-A63B-839AE57CDA86}" dt="2023-04-03T20:19:12.534" v="124" actId="1036"/>
          <ac:spMkLst>
            <pc:docMk/>
            <pc:sldMk cId="1175619145" sldId="2147376750"/>
            <ac:spMk id="14" creationId="{5C4967C9-F394-6C9F-FE22-BDCC2EF2883E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18" creationId="{DDA31070-8674-9E41-E26C-87A190376DFE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19" creationId="{7D43F687-8BC2-10AF-F142-C738A8A17255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20" creationId="{87ADB176-3C6C-DFDB-8EAC-2E967854983C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21" creationId="{2D07DAF4-D6CA-BAC4-A638-53067946CCC2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22" creationId="{7D6493D4-CAE3-433C-5B15-6E935FEE7B01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23" creationId="{255307E3-6539-0216-2C4B-9D5E1DA497F8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24" creationId="{14A01796-F194-E50A-9CE2-86F8F1169414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25" creationId="{2EE3C59D-CC2E-0F0A-A831-C7648E699E97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26" creationId="{3A0A328C-6A56-D5D3-0615-E4930CF1C36A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27" creationId="{193D559C-AFDC-517D-74AE-ED40627AF211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28" creationId="{FA5D484C-2152-62F1-F834-368B30E7818F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29" creationId="{47EE9DC9-9164-3976-F077-ED159F08C0DB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30" creationId="{2E9EFC31-1CBF-702D-4A13-C43C23C01D6F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31" creationId="{8B2B8DBA-D685-B7F2-DC36-3A94E1D42B25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32" creationId="{B91309B9-DDAD-A746-349C-E1A64AC51A90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33" creationId="{561BDC47-EA16-314F-410C-C7E4A8AE5E7B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34" creationId="{4CDB1631-3C5D-7E3F-235C-4B35DBF99BEF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35" creationId="{1DB4AFC7-9AC7-6720-9EEA-4F9A511DB84A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36" creationId="{F139B4E1-3DE4-BD09-A8E5-28E7732EDE09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37" creationId="{57DB7D13-B8A0-97F4-8E1D-558C8193C518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38" creationId="{9057F1C1-59D7-BD82-E711-27DAAC5F8660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39" creationId="{C078F04C-9715-9E86-5ADA-381B8E91EC8B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40" creationId="{0222013C-5ED3-04BB-4358-399D8FFC1473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41" creationId="{1809119C-5A6A-AC7C-96A9-166DB4357286}"/>
          </ac:spMkLst>
        </pc:spChg>
        <pc:spChg chg="add mod">
          <ac:chgData name="Pedro Lopes" userId="40e56e32-8db9-4762-81b5-b0f12e13e658" providerId="ADAL" clId="{9DC7948A-5972-4540-A63B-839AE57CDA86}" dt="2023-04-03T20:19:12.534" v="124" actId="1036"/>
          <ac:spMkLst>
            <pc:docMk/>
            <pc:sldMk cId="1175619145" sldId="2147376750"/>
            <ac:spMk id="42" creationId="{E3A08CA4-1B56-CF8C-AE02-F965D6EB0C4C}"/>
          </ac:spMkLst>
        </pc:spChg>
        <pc:spChg chg="add mod">
          <ac:chgData name="Pedro Lopes" userId="40e56e32-8db9-4762-81b5-b0f12e13e658" providerId="ADAL" clId="{9DC7948A-5972-4540-A63B-839AE57CDA86}" dt="2023-04-03T20:19:12.534" v="124" actId="1036"/>
          <ac:spMkLst>
            <pc:docMk/>
            <pc:sldMk cId="1175619145" sldId="2147376750"/>
            <ac:spMk id="43" creationId="{D99B0DCA-2B4C-8913-3B58-BCD12856632A}"/>
          </ac:spMkLst>
        </pc:spChg>
        <pc:spChg chg="add mod">
          <ac:chgData name="Pedro Lopes" userId="40e56e32-8db9-4762-81b5-b0f12e13e658" providerId="ADAL" clId="{9DC7948A-5972-4540-A63B-839AE57CDA86}" dt="2023-04-03T20:19:44.730" v="135" actId="2711"/>
          <ac:spMkLst>
            <pc:docMk/>
            <pc:sldMk cId="1175619145" sldId="2147376750"/>
            <ac:spMk id="50" creationId="{A9F5F6D2-2610-E6A3-D3D4-6A2E231B684B}"/>
          </ac:spMkLst>
        </pc:spChg>
        <pc:grpChg chg="add mod">
          <ac:chgData name="Pedro Lopes" userId="40e56e32-8db9-4762-81b5-b0f12e13e658" providerId="ADAL" clId="{9DC7948A-5972-4540-A63B-839AE57CDA86}" dt="2023-04-03T20:19:12.534" v="124" actId="1036"/>
          <ac:grpSpMkLst>
            <pc:docMk/>
            <pc:sldMk cId="1175619145" sldId="2147376750"/>
            <ac:grpSpMk id="16" creationId="{1AD64A22-0A9C-F73B-E958-04C840C9D570}"/>
          </ac:grpSpMkLst>
        </pc:grpChg>
        <pc:grpChg chg="add">
          <ac:chgData name="Pedro Lopes" userId="40e56e32-8db9-4762-81b5-b0f12e13e658" providerId="ADAL" clId="{9DC7948A-5972-4540-A63B-839AE57CDA86}" dt="2023-04-03T20:34:59.681" v="137" actId="164"/>
          <ac:grpSpMkLst>
            <pc:docMk/>
            <pc:sldMk cId="1175619145" sldId="2147376750"/>
            <ac:grpSpMk id="54" creationId="{E33B2F2E-D29C-096F-D103-C23590688360}"/>
          </ac:grpSpMkLst>
        </pc:grpChg>
        <pc:grpChg chg="add">
          <ac:chgData name="Pedro Lopes" userId="40e56e32-8db9-4762-81b5-b0f12e13e658" providerId="ADAL" clId="{9DC7948A-5972-4540-A63B-839AE57CDA86}" dt="2023-04-03T20:35:03.801" v="138" actId="164"/>
          <ac:grpSpMkLst>
            <pc:docMk/>
            <pc:sldMk cId="1175619145" sldId="2147376750"/>
            <ac:grpSpMk id="55" creationId="{7FA2982A-C9DC-05FF-D5C6-71C89372122D}"/>
          </ac:grpSpMkLst>
        </pc:grpChg>
        <pc:grpChg chg="add">
          <ac:chgData name="Pedro Lopes" userId="40e56e32-8db9-4762-81b5-b0f12e13e658" providerId="ADAL" clId="{9DC7948A-5972-4540-A63B-839AE57CDA86}" dt="2023-04-03T20:35:09.201" v="139" actId="164"/>
          <ac:grpSpMkLst>
            <pc:docMk/>
            <pc:sldMk cId="1175619145" sldId="2147376750"/>
            <ac:grpSpMk id="56" creationId="{50AA2B5A-4677-2BCB-28AD-A396CBEEF8EF}"/>
          </ac:grpSpMkLst>
        </pc:grpChg>
        <pc:grpChg chg="add">
          <ac:chgData name="Pedro Lopes" userId="40e56e32-8db9-4762-81b5-b0f12e13e658" providerId="ADAL" clId="{9DC7948A-5972-4540-A63B-839AE57CDA86}" dt="2023-04-03T20:35:13.227" v="140" actId="164"/>
          <ac:grpSpMkLst>
            <pc:docMk/>
            <pc:sldMk cId="1175619145" sldId="2147376750"/>
            <ac:grpSpMk id="57" creationId="{F60D2C6C-C2F2-DFC2-65AC-31E49310B8DB}"/>
          </ac:grpSpMkLst>
        </pc:grpChg>
        <pc:grpChg chg="add">
          <ac:chgData name="Pedro Lopes" userId="40e56e32-8db9-4762-81b5-b0f12e13e658" providerId="ADAL" clId="{9DC7948A-5972-4540-A63B-839AE57CDA86}" dt="2023-04-03T20:35:21.175" v="141" actId="164"/>
          <ac:grpSpMkLst>
            <pc:docMk/>
            <pc:sldMk cId="1175619145" sldId="2147376750"/>
            <ac:grpSpMk id="58" creationId="{639DADAC-74B9-96C1-1FED-64054CD1ADBB}"/>
          </ac:grpSpMkLst>
        </pc:grpChg>
        <pc:grpChg chg="add">
          <ac:chgData name="Pedro Lopes" userId="40e56e32-8db9-4762-81b5-b0f12e13e658" providerId="ADAL" clId="{9DC7948A-5972-4540-A63B-839AE57CDA86}" dt="2023-04-03T20:35:26.538" v="142" actId="164"/>
          <ac:grpSpMkLst>
            <pc:docMk/>
            <pc:sldMk cId="1175619145" sldId="2147376750"/>
            <ac:grpSpMk id="59" creationId="{6FB1BF88-4380-CD93-EB10-F2A551F0E87E}"/>
          </ac:grpSpMkLst>
        </pc:grpChg>
        <pc:picChg chg="add mod">
          <ac:chgData name="Pedro Lopes" userId="40e56e32-8db9-4762-81b5-b0f12e13e658" providerId="ADAL" clId="{9DC7948A-5972-4540-A63B-839AE57CDA86}" dt="2023-04-03T20:19:12.534" v="124" actId="1036"/>
          <ac:picMkLst>
            <pc:docMk/>
            <pc:sldMk cId="1175619145" sldId="2147376750"/>
            <ac:picMk id="11" creationId="{DCA71786-D859-E661-A2A4-1B37DA00D2B7}"/>
          </ac:picMkLst>
        </pc:picChg>
        <pc:picChg chg="add mod">
          <ac:chgData name="Pedro Lopes" userId="40e56e32-8db9-4762-81b5-b0f12e13e658" providerId="ADAL" clId="{9DC7948A-5972-4540-A63B-839AE57CDA86}" dt="2023-04-03T20:19:12.534" v="124" actId="1036"/>
          <ac:picMkLst>
            <pc:docMk/>
            <pc:sldMk cId="1175619145" sldId="2147376750"/>
            <ac:picMk id="12" creationId="{EE10E88C-BA11-70E8-9BEB-F1331A4E63B0}"/>
          </ac:picMkLst>
        </pc:picChg>
        <pc:picChg chg="add mod">
          <ac:chgData name="Pedro Lopes" userId="40e56e32-8db9-4762-81b5-b0f12e13e658" providerId="ADAL" clId="{9DC7948A-5972-4540-A63B-839AE57CDA86}" dt="2023-04-03T20:19:12.534" v="124" actId="1036"/>
          <ac:picMkLst>
            <pc:docMk/>
            <pc:sldMk cId="1175619145" sldId="2147376750"/>
            <ac:picMk id="13" creationId="{797E1210-47FE-4BC4-C58D-50E773929AEE}"/>
          </ac:picMkLst>
        </pc:picChg>
        <pc:picChg chg="add mod">
          <ac:chgData name="Pedro Lopes" userId="40e56e32-8db9-4762-81b5-b0f12e13e658" providerId="ADAL" clId="{9DC7948A-5972-4540-A63B-839AE57CDA86}" dt="2023-04-03T20:19:12.534" v="124" actId="1036"/>
          <ac:picMkLst>
            <pc:docMk/>
            <pc:sldMk cId="1175619145" sldId="2147376750"/>
            <ac:picMk id="15" creationId="{00895BCC-8256-F246-2269-AC59C995335C}"/>
          </ac:picMkLst>
        </pc:picChg>
        <pc:picChg chg="mod">
          <ac:chgData name="Pedro Lopes" userId="40e56e32-8db9-4762-81b5-b0f12e13e658" providerId="ADAL" clId="{9DC7948A-5972-4540-A63B-839AE57CDA86}" dt="2023-04-03T20:16:03.255" v="101"/>
          <ac:picMkLst>
            <pc:docMk/>
            <pc:sldMk cId="1175619145" sldId="2147376750"/>
            <ac:picMk id="17" creationId="{8046CAC0-F6DC-4C54-5480-8B829C347F00}"/>
          </ac:picMkLst>
        </pc:picChg>
        <pc:picChg chg="add mod">
          <ac:chgData name="Pedro Lopes" userId="40e56e32-8db9-4762-81b5-b0f12e13e658" providerId="ADAL" clId="{9DC7948A-5972-4540-A63B-839AE57CDA86}" dt="2023-04-03T20:19:12.534" v="124" actId="1036"/>
          <ac:picMkLst>
            <pc:docMk/>
            <pc:sldMk cId="1175619145" sldId="2147376750"/>
            <ac:picMk id="48" creationId="{D5F41798-B745-DE71-4D56-A5E9225C1785}"/>
          </ac:picMkLst>
        </pc:picChg>
        <pc:picChg chg="add del mod">
          <ac:chgData name="Pedro Lopes" userId="40e56e32-8db9-4762-81b5-b0f12e13e658" providerId="ADAL" clId="{9DC7948A-5972-4540-A63B-839AE57CDA86}" dt="2023-04-03T20:18:14.302" v="108" actId="478"/>
          <ac:picMkLst>
            <pc:docMk/>
            <pc:sldMk cId="1175619145" sldId="2147376750"/>
            <ac:picMk id="52" creationId="{BE6A2B92-1689-CEF4-C160-AB608F86CA4E}"/>
          </ac:picMkLst>
        </pc:picChg>
        <pc:picChg chg="add mod">
          <ac:chgData name="Pedro Lopes" userId="40e56e32-8db9-4762-81b5-b0f12e13e658" providerId="ADAL" clId="{9DC7948A-5972-4540-A63B-839AE57CDA86}" dt="2023-04-03T20:18:19.801" v="110" actId="1076"/>
          <ac:picMkLst>
            <pc:docMk/>
            <pc:sldMk cId="1175619145" sldId="2147376750"/>
            <ac:picMk id="53" creationId="{F129A7CA-ABF1-7316-63A3-D4946381761D}"/>
          </ac:picMkLst>
        </pc:picChg>
        <pc:cxnChg chg="add mod">
          <ac:chgData name="Pedro Lopes" userId="40e56e32-8db9-4762-81b5-b0f12e13e658" providerId="ADAL" clId="{9DC7948A-5972-4540-A63B-839AE57CDA86}" dt="2023-04-03T20:19:12.534" v="124" actId="1036"/>
          <ac:cxnSpMkLst>
            <pc:docMk/>
            <pc:sldMk cId="1175619145" sldId="2147376750"/>
            <ac:cxnSpMk id="44" creationId="{8976669D-4186-19A4-05F9-A340B48D6CC0}"/>
          </ac:cxnSpMkLst>
        </pc:cxnChg>
        <pc:cxnChg chg="add mod">
          <ac:chgData name="Pedro Lopes" userId="40e56e32-8db9-4762-81b5-b0f12e13e658" providerId="ADAL" clId="{9DC7948A-5972-4540-A63B-839AE57CDA86}" dt="2023-04-03T20:19:12.534" v="124" actId="1036"/>
          <ac:cxnSpMkLst>
            <pc:docMk/>
            <pc:sldMk cId="1175619145" sldId="2147376750"/>
            <ac:cxnSpMk id="45" creationId="{CEA4311F-1C0B-36CF-1E4A-BE1F166DF285}"/>
          </ac:cxnSpMkLst>
        </pc:cxnChg>
        <pc:cxnChg chg="add mod">
          <ac:chgData name="Pedro Lopes" userId="40e56e32-8db9-4762-81b5-b0f12e13e658" providerId="ADAL" clId="{9DC7948A-5972-4540-A63B-839AE57CDA86}" dt="2023-04-03T20:19:12.534" v="124" actId="1036"/>
          <ac:cxnSpMkLst>
            <pc:docMk/>
            <pc:sldMk cId="1175619145" sldId="2147376750"/>
            <ac:cxnSpMk id="46" creationId="{F0D4F69B-FAB3-D2CC-D412-3E7B97EA9137}"/>
          </ac:cxnSpMkLst>
        </pc:cxnChg>
        <pc:cxnChg chg="add mod">
          <ac:chgData name="Pedro Lopes" userId="40e56e32-8db9-4762-81b5-b0f12e13e658" providerId="ADAL" clId="{9DC7948A-5972-4540-A63B-839AE57CDA86}" dt="2023-04-03T20:19:12.534" v="124" actId="1036"/>
          <ac:cxnSpMkLst>
            <pc:docMk/>
            <pc:sldMk cId="1175619145" sldId="2147376750"/>
            <ac:cxnSpMk id="47" creationId="{E6439FDB-9C9A-FBFF-758F-F7CEB916D98F}"/>
          </ac:cxnSpMkLst>
        </pc:cxnChg>
        <pc:cxnChg chg="add mod">
          <ac:chgData name="Pedro Lopes" userId="40e56e32-8db9-4762-81b5-b0f12e13e658" providerId="ADAL" clId="{9DC7948A-5972-4540-A63B-839AE57CDA86}" dt="2023-04-03T20:19:12.534" v="124" actId="1036"/>
          <ac:cxnSpMkLst>
            <pc:docMk/>
            <pc:sldMk cId="1175619145" sldId="2147376750"/>
            <ac:cxnSpMk id="49" creationId="{B7BF5F2D-5A42-7A13-79DC-B09160867621}"/>
          </ac:cxnSpMkLst>
        </pc:cxnChg>
        <pc:cxnChg chg="add mod">
          <ac:chgData name="Pedro Lopes" userId="40e56e32-8db9-4762-81b5-b0f12e13e658" providerId="ADAL" clId="{9DC7948A-5972-4540-A63B-839AE57CDA86}" dt="2023-04-03T20:19:12.534" v="124" actId="1036"/>
          <ac:cxnSpMkLst>
            <pc:docMk/>
            <pc:sldMk cId="1175619145" sldId="2147376750"/>
            <ac:cxnSpMk id="51" creationId="{165EB661-F052-967D-8FE9-04A571692EA0}"/>
          </ac:cxnSpMkLst>
        </pc:cxnChg>
      </pc:sldChg>
    </pc:docChg>
  </pc:docChgLst>
  <pc:docChgLst>
    <pc:chgData name="Pedro Lopes" userId="40e56e32-8db9-4762-81b5-b0f12e13e658" providerId="ADAL" clId="{76C78BB3-7526-3840-9922-FABFA5A2A9F5}"/>
    <pc:docChg chg="custSel addSld delSld modSld">
      <pc:chgData name="Pedro Lopes" userId="40e56e32-8db9-4762-81b5-b0f12e13e658" providerId="ADAL" clId="{76C78BB3-7526-3840-9922-FABFA5A2A9F5}" dt="2023-08-30T17:49:14.784" v="12" actId="2696"/>
      <pc:docMkLst>
        <pc:docMk/>
      </pc:docMkLst>
      <pc:sldChg chg="modSp mod">
        <pc:chgData name="Pedro Lopes" userId="40e56e32-8db9-4762-81b5-b0f12e13e658" providerId="ADAL" clId="{76C78BB3-7526-3840-9922-FABFA5A2A9F5}" dt="2023-08-25T16:50:10.585" v="3" actId="207"/>
        <pc:sldMkLst>
          <pc:docMk/>
          <pc:sldMk cId="2462203731" sldId="2147376749"/>
        </pc:sldMkLst>
        <pc:spChg chg="mod">
          <ac:chgData name="Pedro Lopes" userId="40e56e32-8db9-4762-81b5-b0f12e13e658" providerId="ADAL" clId="{76C78BB3-7526-3840-9922-FABFA5A2A9F5}" dt="2023-08-25T16:50:10.585" v="3" actId="207"/>
          <ac:spMkLst>
            <pc:docMk/>
            <pc:sldMk cId="2462203731" sldId="2147376749"/>
            <ac:spMk id="3" creationId="{005DB17B-0C53-2E83-269B-223C041CCD59}"/>
          </ac:spMkLst>
        </pc:spChg>
      </pc:sldChg>
      <pc:sldChg chg="modSp new del mod">
        <pc:chgData name="Pedro Lopes" userId="40e56e32-8db9-4762-81b5-b0f12e13e658" providerId="ADAL" clId="{76C78BB3-7526-3840-9922-FABFA5A2A9F5}" dt="2023-08-30T17:49:14.784" v="12" actId="2696"/>
        <pc:sldMkLst>
          <pc:docMk/>
          <pc:sldMk cId="548286663" sldId="2147376752"/>
        </pc:sldMkLst>
        <pc:spChg chg="mod">
          <ac:chgData name="Pedro Lopes" userId="40e56e32-8db9-4762-81b5-b0f12e13e658" providerId="ADAL" clId="{76C78BB3-7526-3840-9922-FABFA5A2A9F5}" dt="2023-08-30T16:39:26.781" v="11" actId="20577"/>
          <ac:spMkLst>
            <pc:docMk/>
            <pc:sldMk cId="548286663" sldId="2147376752"/>
            <ac:spMk id="4" creationId="{2906D2D4-4C2C-78E0-A45A-E3EB280511DB}"/>
          </ac:spMkLst>
        </pc:spChg>
      </pc:sldChg>
    </pc:docChg>
  </pc:docChgLst>
  <pc:docChgLst>
    <pc:chgData name="Pedro Lopes" userId="40e56e32-8db9-4762-81b5-b0f12e13e658" providerId="ADAL" clId="{0F11694C-1020-1946-A80C-7B67F6271C88}"/>
    <pc:docChg chg="undo custSel delSld modSld">
      <pc:chgData name="Pedro Lopes" userId="40e56e32-8db9-4762-81b5-b0f12e13e658" providerId="ADAL" clId="{0F11694C-1020-1946-A80C-7B67F6271C88}" dt="2023-11-01T12:34:30.451" v="15" actId="20577"/>
      <pc:docMkLst>
        <pc:docMk/>
      </pc:docMkLst>
      <pc:sldChg chg="del">
        <pc:chgData name="Pedro Lopes" userId="40e56e32-8db9-4762-81b5-b0f12e13e658" providerId="ADAL" clId="{0F11694C-1020-1946-A80C-7B67F6271C88}" dt="2023-11-01T12:33:49.047" v="6" actId="2696"/>
        <pc:sldMkLst>
          <pc:docMk/>
          <pc:sldMk cId="199279220" sldId="280"/>
        </pc:sldMkLst>
      </pc:sldChg>
      <pc:sldChg chg="modSp modAnim">
        <pc:chgData name="Pedro Lopes" userId="40e56e32-8db9-4762-81b5-b0f12e13e658" providerId="ADAL" clId="{0F11694C-1020-1946-A80C-7B67F6271C88}" dt="2023-11-01T12:34:30.451" v="15" actId="20577"/>
        <pc:sldMkLst>
          <pc:docMk/>
          <pc:sldMk cId="237544605" sldId="292"/>
        </pc:sldMkLst>
        <pc:spChg chg="mod">
          <ac:chgData name="Pedro Lopes" userId="40e56e32-8db9-4762-81b5-b0f12e13e658" providerId="ADAL" clId="{0F11694C-1020-1946-A80C-7B67F6271C88}" dt="2023-11-01T12:34:30.451" v="15" actId="20577"/>
          <ac:spMkLst>
            <pc:docMk/>
            <pc:sldMk cId="237544605" sldId="292"/>
            <ac:spMk id="6" creationId="{07290D52-CF77-A427-6486-155B0C6BC536}"/>
          </ac:spMkLst>
        </pc:spChg>
      </pc:sldChg>
      <pc:sldChg chg="delSp modSp mod">
        <pc:chgData name="Pedro Lopes" userId="40e56e32-8db9-4762-81b5-b0f12e13e658" providerId="ADAL" clId="{0F11694C-1020-1946-A80C-7B67F6271C88}" dt="2023-11-01T12:34:15.868" v="13" actId="1076"/>
        <pc:sldMkLst>
          <pc:docMk/>
          <pc:sldMk cId="2350611993" sldId="2147376631"/>
        </pc:sldMkLst>
        <pc:spChg chg="mod">
          <ac:chgData name="Pedro Lopes" userId="40e56e32-8db9-4762-81b5-b0f12e13e658" providerId="ADAL" clId="{0F11694C-1020-1946-A80C-7B67F6271C88}" dt="2023-11-01T12:34:15.868" v="13" actId="1076"/>
          <ac:spMkLst>
            <pc:docMk/>
            <pc:sldMk cId="2350611993" sldId="2147376631"/>
            <ac:spMk id="10" creationId="{46309C1F-D2BC-C083-8B61-B31D07FB2F24}"/>
          </ac:spMkLst>
        </pc:spChg>
        <pc:spChg chg="mod">
          <ac:chgData name="Pedro Lopes" userId="40e56e32-8db9-4762-81b5-b0f12e13e658" providerId="ADAL" clId="{0F11694C-1020-1946-A80C-7B67F6271C88}" dt="2023-11-01T12:34:03.685" v="8" actId="1076"/>
          <ac:spMkLst>
            <pc:docMk/>
            <pc:sldMk cId="2350611993" sldId="2147376631"/>
            <ac:spMk id="12" creationId="{9A21CE8F-5085-14E0-42A4-EFCC06203124}"/>
          </ac:spMkLst>
        </pc:spChg>
        <pc:spChg chg="mod">
          <ac:chgData name="Pedro Lopes" userId="40e56e32-8db9-4762-81b5-b0f12e13e658" providerId="ADAL" clId="{0F11694C-1020-1946-A80C-7B67F6271C88}" dt="2023-11-01T12:34:03.685" v="8" actId="1076"/>
          <ac:spMkLst>
            <pc:docMk/>
            <pc:sldMk cId="2350611993" sldId="2147376631"/>
            <ac:spMk id="16" creationId="{F140E21A-9E05-B838-B05C-E78E120C486B}"/>
          </ac:spMkLst>
        </pc:spChg>
        <pc:spChg chg="del">
          <ac:chgData name="Pedro Lopes" userId="40e56e32-8db9-4762-81b5-b0f12e13e658" providerId="ADAL" clId="{0F11694C-1020-1946-A80C-7B67F6271C88}" dt="2023-11-01T12:33:53.290" v="7" actId="478"/>
          <ac:spMkLst>
            <pc:docMk/>
            <pc:sldMk cId="2350611993" sldId="2147376631"/>
            <ac:spMk id="26" creationId="{B16CBEC5-4806-EB2B-4318-9DF7395CDFD6}"/>
          </ac:spMkLst>
        </pc:spChg>
        <pc:picChg chg="mod">
          <ac:chgData name="Pedro Lopes" userId="40e56e32-8db9-4762-81b5-b0f12e13e658" providerId="ADAL" clId="{0F11694C-1020-1946-A80C-7B67F6271C88}" dt="2023-11-01T12:34:13.630" v="12" actId="1076"/>
          <ac:picMkLst>
            <pc:docMk/>
            <pc:sldMk cId="2350611993" sldId="2147376631"/>
            <ac:picMk id="8" creationId="{AE381F9B-297E-9C0E-B156-5D38F7721C14}"/>
          </ac:picMkLst>
        </pc:picChg>
        <pc:picChg chg="mod">
          <ac:chgData name="Pedro Lopes" userId="40e56e32-8db9-4762-81b5-b0f12e13e658" providerId="ADAL" clId="{0F11694C-1020-1946-A80C-7B67F6271C88}" dt="2023-11-01T12:34:13.630" v="12" actId="1076"/>
          <ac:picMkLst>
            <pc:docMk/>
            <pc:sldMk cId="2350611993" sldId="2147376631"/>
            <ac:picMk id="9" creationId="{A089DA73-5B01-E633-630E-DF1A2203D1E5}"/>
          </ac:picMkLst>
        </pc:picChg>
        <pc:picChg chg="mod">
          <ac:chgData name="Pedro Lopes" userId="40e56e32-8db9-4762-81b5-b0f12e13e658" providerId="ADAL" clId="{0F11694C-1020-1946-A80C-7B67F6271C88}" dt="2023-11-01T12:34:03.685" v="8" actId="1076"/>
          <ac:picMkLst>
            <pc:docMk/>
            <pc:sldMk cId="2350611993" sldId="2147376631"/>
            <ac:picMk id="18" creationId="{20F7DC65-9704-4840-5818-1CCC37C01534}"/>
          </ac:picMkLst>
        </pc:picChg>
        <pc:picChg chg="del">
          <ac:chgData name="Pedro Lopes" userId="40e56e32-8db9-4762-81b5-b0f12e13e658" providerId="ADAL" clId="{0F11694C-1020-1946-A80C-7B67F6271C88}" dt="2023-11-01T12:33:53.290" v="7" actId="478"/>
          <ac:picMkLst>
            <pc:docMk/>
            <pc:sldMk cId="2350611993" sldId="2147376631"/>
            <ac:picMk id="23" creationId="{C6F3957B-9F29-D96B-E6C9-D50DDC4FC5A8}"/>
          </ac:picMkLst>
        </pc:picChg>
      </pc:sldChg>
      <pc:sldChg chg="del">
        <pc:chgData name="Pedro Lopes" userId="40e56e32-8db9-4762-81b5-b0f12e13e658" providerId="ADAL" clId="{0F11694C-1020-1946-A80C-7B67F6271C88}" dt="2023-11-01T12:33:49.037" v="5" actId="2696"/>
        <pc:sldMkLst>
          <pc:docMk/>
          <pc:sldMk cId="1754509754" sldId="2147376737"/>
        </pc:sldMkLst>
      </pc:sldChg>
      <pc:sldChg chg="modSp mod">
        <pc:chgData name="Pedro Lopes" userId="40e56e32-8db9-4762-81b5-b0f12e13e658" providerId="ADAL" clId="{0F11694C-1020-1946-A80C-7B67F6271C88}" dt="2023-11-01T12:34:21.476" v="14" actId="20577"/>
        <pc:sldMkLst>
          <pc:docMk/>
          <pc:sldMk cId="2462203731" sldId="2147376749"/>
        </pc:sldMkLst>
        <pc:spChg chg="mod">
          <ac:chgData name="Pedro Lopes" userId="40e56e32-8db9-4762-81b5-b0f12e13e658" providerId="ADAL" clId="{0F11694C-1020-1946-A80C-7B67F6271C88}" dt="2023-11-01T12:34:21.476" v="14" actId="20577"/>
          <ac:spMkLst>
            <pc:docMk/>
            <pc:sldMk cId="2462203731" sldId="2147376749"/>
            <ac:spMk id="3" creationId="{005DB17B-0C53-2E83-269B-223C041CCD59}"/>
          </ac:spMkLst>
        </pc:spChg>
      </pc:sldChg>
      <pc:sldChg chg="modSp mod">
        <pc:chgData name="Pedro Lopes" userId="40e56e32-8db9-4762-81b5-b0f12e13e658" providerId="ADAL" clId="{0F11694C-1020-1946-A80C-7B67F6271C88}" dt="2023-10-20T13:30:18.392" v="3" actId="20577"/>
        <pc:sldMkLst>
          <pc:docMk/>
          <pc:sldMk cId="548286663" sldId="2147376752"/>
        </pc:sldMkLst>
        <pc:spChg chg="mod">
          <ac:chgData name="Pedro Lopes" userId="40e56e32-8db9-4762-81b5-b0f12e13e658" providerId="ADAL" clId="{0F11694C-1020-1946-A80C-7B67F6271C88}" dt="2023-10-20T13:30:18.392" v="3" actId="20577"/>
          <ac:spMkLst>
            <pc:docMk/>
            <pc:sldMk cId="548286663" sldId="2147376752"/>
            <ac:spMk id="4" creationId="{2906D2D4-4C2C-78E0-A45A-E3EB280511DB}"/>
          </ac:spMkLst>
        </pc:spChg>
      </pc:sldChg>
      <pc:sldChg chg="modSp mod">
        <pc:chgData name="Pedro Lopes" userId="40e56e32-8db9-4762-81b5-b0f12e13e658" providerId="ADAL" clId="{0F11694C-1020-1946-A80C-7B67F6271C88}" dt="2023-10-20T13:30:21.129" v="4" actId="20577"/>
        <pc:sldMkLst>
          <pc:docMk/>
          <pc:sldMk cId="1274012730" sldId="2147376765"/>
        </pc:sldMkLst>
        <pc:spChg chg="mod">
          <ac:chgData name="Pedro Lopes" userId="40e56e32-8db9-4762-81b5-b0f12e13e658" providerId="ADAL" clId="{0F11694C-1020-1946-A80C-7B67F6271C88}" dt="2023-10-20T13:30:21.129" v="4" actId="20577"/>
          <ac:spMkLst>
            <pc:docMk/>
            <pc:sldMk cId="1274012730" sldId="2147376765"/>
            <ac:spMk id="4" creationId="{2906D2D4-4C2C-78E0-A45A-E3EB280511DB}"/>
          </ac:spMkLst>
        </pc:spChg>
      </pc:sldChg>
    </pc:docChg>
  </pc:docChgLst>
  <pc:docChgLst>
    <pc:chgData name="Pedro Lopes" userId="40e56e32-8db9-4762-81b5-b0f12e13e658" providerId="ADAL" clId="{C82E0740-402A-054C-AE00-7556352CBD42}"/>
    <pc:docChg chg="custSel modSld">
      <pc:chgData name="Pedro Lopes" userId="40e56e32-8db9-4762-81b5-b0f12e13e658" providerId="ADAL" clId="{C82E0740-402A-054C-AE00-7556352CBD42}" dt="2023-07-27T13:28:30.509" v="66" actId="207"/>
      <pc:docMkLst>
        <pc:docMk/>
      </pc:docMkLst>
      <pc:sldChg chg="modSp mod">
        <pc:chgData name="Pedro Lopes" userId="40e56e32-8db9-4762-81b5-b0f12e13e658" providerId="ADAL" clId="{C82E0740-402A-054C-AE00-7556352CBD42}" dt="2023-07-26T15:55:14.250" v="27" actId="1037"/>
        <pc:sldMkLst>
          <pc:docMk/>
          <pc:sldMk cId="4283568258" sldId="286"/>
        </pc:sldMkLst>
        <pc:spChg chg="mod">
          <ac:chgData name="Pedro Lopes" userId="40e56e32-8db9-4762-81b5-b0f12e13e658" providerId="ADAL" clId="{C82E0740-402A-054C-AE00-7556352CBD42}" dt="2023-07-26T15:55:07.017" v="14" actId="1076"/>
          <ac:spMkLst>
            <pc:docMk/>
            <pc:sldMk cId="4283568258" sldId="286"/>
            <ac:spMk id="3" creationId="{DF789BDC-BD04-9A06-319C-8B2D34A9F6A4}"/>
          </ac:spMkLst>
        </pc:spChg>
        <pc:grpChg chg="mod">
          <ac:chgData name="Pedro Lopes" userId="40e56e32-8db9-4762-81b5-b0f12e13e658" providerId="ADAL" clId="{C82E0740-402A-054C-AE00-7556352CBD42}" dt="2023-07-26T15:55:07.017" v="14" actId="1076"/>
          <ac:grpSpMkLst>
            <pc:docMk/>
            <pc:sldMk cId="4283568258" sldId="286"/>
            <ac:grpSpMk id="6" creationId="{BCC31B88-87F9-2621-21D1-D6B69FAD339A}"/>
          </ac:grpSpMkLst>
        </pc:grpChg>
        <pc:picChg chg="mod">
          <ac:chgData name="Pedro Lopes" userId="40e56e32-8db9-4762-81b5-b0f12e13e658" providerId="ADAL" clId="{C82E0740-402A-054C-AE00-7556352CBD42}" dt="2023-07-26T15:55:07.017" v="14" actId="1076"/>
          <ac:picMkLst>
            <pc:docMk/>
            <pc:sldMk cId="4283568258" sldId="286"/>
            <ac:picMk id="2" creationId="{812DB131-89B8-7424-74ED-F71ED4B645E6}"/>
          </ac:picMkLst>
        </pc:picChg>
        <pc:picChg chg="mod">
          <ac:chgData name="Pedro Lopes" userId="40e56e32-8db9-4762-81b5-b0f12e13e658" providerId="ADAL" clId="{C82E0740-402A-054C-AE00-7556352CBD42}" dt="2023-07-26T15:55:14.250" v="27" actId="1037"/>
          <ac:picMkLst>
            <pc:docMk/>
            <pc:sldMk cId="4283568258" sldId="286"/>
            <ac:picMk id="7" creationId="{744B097C-2B7B-87B3-F8B7-A3CA88D57067}"/>
          </ac:picMkLst>
        </pc:picChg>
      </pc:sldChg>
      <pc:sldChg chg="modSp modAnim">
        <pc:chgData name="Pedro Lopes" userId="40e56e32-8db9-4762-81b5-b0f12e13e658" providerId="ADAL" clId="{C82E0740-402A-054C-AE00-7556352CBD42}" dt="2023-07-27T13:28:30.509" v="66" actId="207"/>
        <pc:sldMkLst>
          <pc:docMk/>
          <pc:sldMk cId="237544605" sldId="292"/>
        </pc:sldMkLst>
        <pc:spChg chg="mod">
          <ac:chgData name="Pedro Lopes" userId="40e56e32-8db9-4762-81b5-b0f12e13e658" providerId="ADAL" clId="{C82E0740-402A-054C-AE00-7556352CBD42}" dt="2023-07-27T13:28:30.509" v="66" actId="207"/>
          <ac:spMkLst>
            <pc:docMk/>
            <pc:sldMk cId="237544605" sldId="292"/>
            <ac:spMk id="6" creationId="{07290D52-CF77-A427-6486-155B0C6BC536}"/>
          </ac:spMkLst>
        </pc:spChg>
      </pc:sldChg>
      <pc:sldChg chg="modSp mod">
        <pc:chgData name="Pedro Lopes" userId="40e56e32-8db9-4762-81b5-b0f12e13e658" providerId="ADAL" clId="{C82E0740-402A-054C-AE00-7556352CBD42}" dt="2023-07-26T20:36:26.819" v="56" actId="207"/>
        <pc:sldMkLst>
          <pc:docMk/>
          <pc:sldMk cId="2799207890" sldId="2147376623"/>
        </pc:sldMkLst>
        <pc:spChg chg="mod">
          <ac:chgData name="Pedro Lopes" userId="40e56e32-8db9-4762-81b5-b0f12e13e658" providerId="ADAL" clId="{C82E0740-402A-054C-AE00-7556352CBD42}" dt="2023-07-26T20:36:26.819" v="56" actId="207"/>
          <ac:spMkLst>
            <pc:docMk/>
            <pc:sldMk cId="2799207890" sldId="2147376623"/>
            <ac:spMk id="2" creationId="{0CA0B2D3-277C-226C-6E84-921B89D73359}"/>
          </ac:spMkLst>
        </pc:spChg>
      </pc:sldChg>
      <pc:sldChg chg="addSp delSp modSp mod delAnim modAnim">
        <pc:chgData name="Pedro Lopes" userId="40e56e32-8db9-4762-81b5-b0f12e13e658" providerId="ADAL" clId="{C82E0740-402A-054C-AE00-7556352CBD42}" dt="2023-07-26T15:54:09.649" v="11" actId="1036"/>
        <pc:sldMkLst>
          <pc:docMk/>
          <pc:sldMk cId="1754509754" sldId="2147376737"/>
        </pc:sldMkLst>
        <pc:spChg chg="add mod">
          <ac:chgData name="Pedro Lopes" userId="40e56e32-8db9-4762-81b5-b0f12e13e658" providerId="ADAL" clId="{C82E0740-402A-054C-AE00-7556352CBD42}" dt="2023-07-26T15:54:09.649" v="11" actId="1036"/>
          <ac:spMkLst>
            <pc:docMk/>
            <pc:sldMk cId="1754509754" sldId="2147376737"/>
            <ac:spMk id="2" creationId="{24C2E587-FD27-25E5-C353-BB3F5129C991}"/>
          </ac:spMkLst>
        </pc:spChg>
        <pc:spChg chg="del">
          <ac:chgData name="Pedro Lopes" userId="40e56e32-8db9-4762-81b5-b0f12e13e658" providerId="ADAL" clId="{C82E0740-402A-054C-AE00-7556352CBD42}" dt="2023-07-26T15:54:02.695" v="0" actId="478"/>
          <ac:spMkLst>
            <pc:docMk/>
            <pc:sldMk cId="1754509754" sldId="2147376737"/>
            <ac:spMk id="3" creationId="{46613B4C-FABB-C805-B7F1-D4CB56430D24}"/>
          </ac:spMkLst>
        </pc:spChg>
        <pc:spChg chg="add mod">
          <ac:chgData name="Pedro Lopes" userId="40e56e32-8db9-4762-81b5-b0f12e13e658" providerId="ADAL" clId="{C82E0740-402A-054C-AE00-7556352CBD42}" dt="2023-07-26T15:54:09.649" v="11" actId="1036"/>
          <ac:spMkLst>
            <pc:docMk/>
            <pc:sldMk cId="1754509754" sldId="2147376737"/>
            <ac:spMk id="4" creationId="{FD7D865B-5B4C-706B-D817-8013A54F0204}"/>
          </ac:spMkLst>
        </pc:spChg>
        <pc:spChg chg="del">
          <ac:chgData name="Pedro Lopes" userId="40e56e32-8db9-4762-81b5-b0f12e13e658" providerId="ADAL" clId="{C82E0740-402A-054C-AE00-7556352CBD42}" dt="2023-07-26T15:54:02.695" v="0" actId="478"/>
          <ac:spMkLst>
            <pc:docMk/>
            <pc:sldMk cId="1754509754" sldId="2147376737"/>
            <ac:spMk id="8" creationId="{288CD01C-2261-E90A-6F75-2B4F5FF8A689}"/>
          </ac:spMkLst>
        </pc:spChg>
        <pc:picChg chg="add mod">
          <ac:chgData name="Pedro Lopes" userId="40e56e32-8db9-4762-81b5-b0f12e13e658" providerId="ADAL" clId="{C82E0740-402A-054C-AE00-7556352CBD42}" dt="2023-07-26T15:54:03.072" v="1"/>
          <ac:picMkLst>
            <pc:docMk/>
            <pc:sldMk cId="1754509754" sldId="2147376737"/>
            <ac:picMk id="6" creationId="{F22180B9-269F-4F04-71F6-37C9C64002CD}"/>
          </ac:picMkLst>
        </pc:picChg>
        <pc:picChg chg="add mod">
          <ac:chgData name="Pedro Lopes" userId="40e56e32-8db9-4762-81b5-b0f12e13e658" providerId="ADAL" clId="{C82E0740-402A-054C-AE00-7556352CBD42}" dt="2023-07-26T15:54:03.072" v="1"/>
          <ac:picMkLst>
            <pc:docMk/>
            <pc:sldMk cId="1754509754" sldId="2147376737"/>
            <ac:picMk id="7" creationId="{CAF9266B-8B49-E034-E67A-2E17621AF74B}"/>
          </ac:picMkLst>
        </pc:picChg>
        <pc:picChg chg="add mod">
          <ac:chgData name="Pedro Lopes" userId="40e56e32-8db9-4762-81b5-b0f12e13e658" providerId="ADAL" clId="{C82E0740-402A-054C-AE00-7556352CBD42}" dt="2023-07-26T15:54:03.072" v="1"/>
          <ac:picMkLst>
            <pc:docMk/>
            <pc:sldMk cId="1754509754" sldId="2147376737"/>
            <ac:picMk id="9" creationId="{8408E12E-DAE6-7CAE-ACAF-511026E1261C}"/>
          </ac:picMkLst>
        </pc:picChg>
        <pc:picChg chg="add mod">
          <ac:chgData name="Pedro Lopes" userId="40e56e32-8db9-4762-81b5-b0f12e13e658" providerId="ADAL" clId="{C82E0740-402A-054C-AE00-7556352CBD42}" dt="2023-07-26T15:54:03.072" v="1"/>
          <ac:picMkLst>
            <pc:docMk/>
            <pc:sldMk cId="1754509754" sldId="2147376737"/>
            <ac:picMk id="10" creationId="{6536F900-3FB7-F116-2E83-5D8D74C90F42}"/>
          </ac:picMkLst>
        </pc:picChg>
        <pc:picChg chg="del">
          <ac:chgData name="Pedro Lopes" userId="40e56e32-8db9-4762-81b5-b0f12e13e658" providerId="ADAL" clId="{C82E0740-402A-054C-AE00-7556352CBD42}" dt="2023-07-26T15:54:02.695" v="0" actId="478"/>
          <ac:picMkLst>
            <pc:docMk/>
            <pc:sldMk cId="1754509754" sldId="2147376737"/>
            <ac:picMk id="19" creationId="{8D0A154C-081F-BBA5-05D6-679DA970BB71}"/>
          </ac:picMkLst>
        </pc:picChg>
        <pc:picChg chg="del">
          <ac:chgData name="Pedro Lopes" userId="40e56e32-8db9-4762-81b5-b0f12e13e658" providerId="ADAL" clId="{C82E0740-402A-054C-AE00-7556352CBD42}" dt="2023-07-26T15:54:02.695" v="0" actId="478"/>
          <ac:picMkLst>
            <pc:docMk/>
            <pc:sldMk cId="1754509754" sldId="2147376737"/>
            <ac:picMk id="20" creationId="{9F80AF2D-BF11-BD34-AE65-3AAD11396AB3}"/>
          </ac:picMkLst>
        </pc:picChg>
        <pc:picChg chg="del">
          <ac:chgData name="Pedro Lopes" userId="40e56e32-8db9-4762-81b5-b0f12e13e658" providerId="ADAL" clId="{C82E0740-402A-054C-AE00-7556352CBD42}" dt="2023-07-26T15:54:02.695" v="0" actId="478"/>
          <ac:picMkLst>
            <pc:docMk/>
            <pc:sldMk cId="1754509754" sldId="2147376737"/>
            <ac:picMk id="27" creationId="{6DEA9D3C-D035-D19F-F10E-D7F3B9B401F2}"/>
          </ac:picMkLst>
        </pc:picChg>
      </pc:sldChg>
      <pc:sldChg chg="modAnim">
        <pc:chgData name="Pedro Lopes" userId="40e56e32-8db9-4762-81b5-b0f12e13e658" providerId="ADAL" clId="{C82E0740-402A-054C-AE00-7556352CBD42}" dt="2023-07-26T15:58:29.818" v="54"/>
        <pc:sldMkLst>
          <pc:docMk/>
          <pc:sldMk cId="1418418350" sldId="2147376741"/>
        </pc:sldMkLst>
      </pc:sldChg>
      <pc:sldChg chg="addSp delSp modSp mod modAnim">
        <pc:chgData name="Pedro Lopes" userId="40e56e32-8db9-4762-81b5-b0f12e13e658" providerId="ADAL" clId="{C82E0740-402A-054C-AE00-7556352CBD42}" dt="2023-07-26T15:58:12.277" v="53"/>
        <pc:sldMkLst>
          <pc:docMk/>
          <pc:sldMk cId="1337754654" sldId="2147376747"/>
        </pc:sldMkLst>
        <pc:spChg chg="mod">
          <ac:chgData name="Pedro Lopes" userId="40e56e32-8db9-4762-81b5-b0f12e13e658" providerId="ADAL" clId="{C82E0740-402A-054C-AE00-7556352CBD42}" dt="2023-07-26T15:56:39.282" v="33" actId="1076"/>
          <ac:spMkLst>
            <pc:docMk/>
            <pc:sldMk cId="1337754654" sldId="2147376747"/>
            <ac:spMk id="41" creationId="{4A7010F2-875F-A0E2-C752-0BAC77AD45AF}"/>
          </ac:spMkLst>
        </pc:spChg>
        <pc:spChg chg="mod">
          <ac:chgData name="Pedro Lopes" userId="40e56e32-8db9-4762-81b5-b0f12e13e658" providerId="ADAL" clId="{C82E0740-402A-054C-AE00-7556352CBD42}" dt="2023-07-26T15:56:42.166" v="34" actId="1076"/>
          <ac:spMkLst>
            <pc:docMk/>
            <pc:sldMk cId="1337754654" sldId="2147376747"/>
            <ac:spMk id="63" creationId="{7429D234-3909-9F72-0A78-C0D58BC2E7FA}"/>
          </ac:spMkLst>
        </pc:spChg>
        <pc:grpChg chg="add">
          <ac:chgData name="Pedro Lopes" userId="40e56e32-8db9-4762-81b5-b0f12e13e658" providerId="ADAL" clId="{C82E0740-402A-054C-AE00-7556352CBD42}" dt="2023-07-26T15:57:13.632" v="46" actId="164"/>
          <ac:grpSpMkLst>
            <pc:docMk/>
            <pc:sldMk cId="1337754654" sldId="2147376747"/>
            <ac:grpSpMk id="2" creationId="{6365D6BE-E728-5A66-4BBE-2019ED31C1C4}"/>
          </ac:grpSpMkLst>
        </pc:grpChg>
        <pc:grpChg chg="mod topLvl">
          <ac:chgData name="Pedro Lopes" userId="40e56e32-8db9-4762-81b5-b0f12e13e658" providerId="ADAL" clId="{C82E0740-402A-054C-AE00-7556352CBD42}" dt="2023-07-26T15:56:33.485" v="32" actId="1076"/>
          <ac:grpSpMkLst>
            <pc:docMk/>
            <pc:sldMk cId="1337754654" sldId="2147376747"/>
            <ac:grpSpMk id="24" creationId="{F8345876-1448-E64B-B783-B7D92AED5066}"/>
          </ac:grpSpMkLst>
        </pc:grpChg>
        <pc:grpChg chg="del">
          <ac:chgData name="Pedro Lopes" userId="40e56e32-8db9-4762-81b5-b0f12e13e658" providerId="ADAL" clId="{C82E0740-402A-054C-AE00-7556352CBD42}" dt="2023-07-26T15:55:52.482" v="28" actId="165"/>
          <ac:grpSpMkLst>
            <pc:docMk/>
            <pc:sldMk cId="1337754654" sldId="2147376747"/>
            <ac:grpSpMk id="40" creationId="{6249CF94-D0C2-C508-F30B-90BA7D003DD1}"/>
          </ac:grpSpMkLst>
        </pc:grpChg>
        <pc:grpChg chg="mod topLvl">
          <ac:chgData name="Pedro Lopes" userId="40e56e32-8db9-4762-81b5-b0f12e13e658" providerId="ADAL" clId="{C82E0740-402A-054C-AE00-7556352CBD42}" dt="2023-07-26T15:56:33.485" v="32" actId="1076"/>
          <ac:grpSpMkLst>
            <pc:docMk/>
            <pc:sldMk cId="1337754654" sldId="2147376747"/>
            <ac:grpSpMk id="57" creationId="{152AD2B5-E149-16D2-6896-524EFEF6917A}"/>
          </ac:grpSpMkLst>
        </pc:grpChg>
        <pc:grpChg chg="mod topLvl">
          <ac:chgData name="Pedro Lopes" userId="40e56e32-8db9-4762-81b5-b0f12e13e658" providerId="ADAL" clId="{C82E0740-402A-054C-AE00-7556352CBD42}" dt="2023-07-26T15:56:33.485" v="32" actId="1076"/>
          <ac:grpSpMkLst>
            <pc:docMk/>
            <pc:sldMk cId="1337754654" sldId="2147376747"/>
            <ac:grpSpMk id="58" creationId="{84F5869F-2A9B-1571-E5CA-C3F8A4AA0831}"/>
          </ac:grpSpMkLst>
        </pc:grpChg>
        <pc:grpChg chg="mod topLvl">
          <ac:chgData name="Pedro Lopes" userId="40e56e32-8db9-4762-81b5-b0f12e13e658" providerId="ADAL" clId="{C82E0740-402A-054C-AE00-7556352CBD42}" dt="2023-07-26T15:56:33.485" v="32" actId="1076"/>
          <ac:grpSpMkLst>
            <pc:docMk/>
            <pc:sldMk cId="1337754654" sldId="2147376747"/>
            <ac:grpSpMk id="59" creationId="{3DEF0BA5-3E7F-3C2E-D66B-C9C730906081}"/>
          </ac:grpSpMkLst>
        </pc:grpChg>
        <pc:grpChg chg="mod topLvl">
          <ac:chgData name="Pedro Lopes" userId="40e56e32-8db9-4762-81b5-b0f12e13e658" providerId="ADAL" clId="{C82E0740-402A-054C-AE00-7556352CBD42}" dt="2023-07-26T15:57:10.407" v="45" actId="1035"/>
          <ac:grpSpMkLst>
            <pc:docMk/>
            <pc:sldMk cId="1337754654" sldId="2147376747"/>
            <ac:grpSpMk id="61" creationId="{98460CCE-183A-6043-EDC0-B9F384E4BB93}"/>
          </ac:grpSpMkLst>
        </pc:grpChg>
        <pc:grpChg chg="mod topLvl">
          <ac:chgData name="Pedro Lopes" userId="40e56e32-8db9-4762-81b5-b0f12e13e658" providerId="ADAL" clId="{C82E0740-402A-054C-AE00-7556352CBD42}" dt="2023-07-26T15:56:33.485" v="32" actId="1076"/>
          <ac:grpSpMkLst>
            <pc:docMk/>
            <pc:sldMk cId="1337754654" sldId="2147376747"/>
            <ac:grpSpMk id="66" creationId="{FD1F5198-7958-8381-8837-AFA36110ACF8}"/>
          </ac:grpSpMkLst>
        </pc:grpChg>
        <pc:picChg chg="mod topLvl">
          <ac:chgData name="Pedro Lopes" userId="40e56e32-8db9-4762-81b5-b0f12e13e658" providerId="ADAL" clId="{C82E0740-402A-054C-AE00-7556352CBD42}" dt="2023-07-26T15:56:33.485" v="32" actId="1076"/>
          <ac:picMkLst>
            <pc:docMk/>
            <pc:sldMk cId="1337754654" sldId="2147376747"/>
            <ac:picMk id="64" creationId="{82EE15B2-BD82-656C-BE7A-74381E80A4F8}"/>
          </ac:picMkLst>
        </pc:picChg>
      </pc:sldChg>
      <pc:sldChg chg="modAnim">
        <pc:chgData name="Pedro Lopes" userId="40e56e32-8db9-4762-81b5-b0f12e13e658" providerId="ADAL" clId="{C82E0740-402A-054C-AE00-7556352CBD42}" dt="2023-07-26T15:58:52.898" v="55"/>
        <pc:sldMkLst>
          <pc:docMk/>
          <pc:sldMk cId="782010024" sldId="2147376748"/>
        </pc:sldMkLst>
      </pc:sldChg>
    </pc:docChg>
  </pc:docChgLst>
  <pc:docChgLst>
    <pc:chgData name="Pedro Lopes" userId="40e56e32-8db9-4762-81b5-b0f12e13e658" providerId="ADAL" clId="{87C56D44-CB7A-E94A-BE6D-22C334C385F1}"/>
    <pc:docChg chg="undo custSel addSld delSld modSld">
      <pc:chgData name="Pedro Lopes" userId="40e56e32-8db9-4762-81b5-b0f12e13e658" providerId="ADAL" clId="{87C56D44-CB7A-E94A-BE6D-22C334C385F1}" dt="2023-06-30T13:05:44.485" v="402" actId="20577"/>
      <pc:docMkLst>
        <pc:docMk/>
      </pc:docMkLst>
      <pc:sldChg chg="addSp delSp modSp mod delAnim modAnim">
        <pc:chgData name="Pedro Lopes" userId="40e56e32-8db9-4762-81b5-b0f12e13e658" providerId="ADAL" clId="{87C56D44-CB7A-E94A-BE6D-22C334C385F1}" dt="2023-04-27T17:13:54.469" v="279"/>
        <pc:sldMkLst>
          <pc:docMk/>
          <pc:sldMk cId="4283568258" sldId="286"/>
        </pc:sldMkLst>
        <pc:spChg chg="add mod topLvl">
          <ac:chgData name="Pedro Lopes" userId="40e56e32-8db9-4762-81b5-b0f12e13e658" providerId="ADAL" clId="{87C56D44-CB7A-E94A-BE6D-22C334C385F1}" dt="2023-04-27T17:13:39.499" v="277" actId="208"/>
          <ac:spMkLst>
            <pc:docMk/>
            <pc:sldMk cId="4283568258" sldId="286"/>
            <ac:spMk id="3" creationId="{DF789BDC-BD04-9A06-319C-8B2D34A9F6A4}"/>
          </ac:spMkLst>
        </pc:spChg>
        <pc:spChg chg="add del mod">
          <ac:chgData name="Pedro Lopes" userId="40e56e32-8db9-4762-81b5-b0f12e13e658" providerId="ADAL" clId="{87C56D44-CB7A-E94A-BE6D-22C334C385F1}" dt="2023-04-19T14:56:22.310" v="262"/>
          <ac:spMkLst>
            <pc:docMk/>
            <pc:sldMk cId="4283568258" sldId="286"/>
            <ac:spMk id="6" creationId="{E8A5578E-0F3B-4B46-5D29-E4CF6D44124B}"/>
          </ac:spMkLst>
        </pc:spChg>
        <pc:grpChg chg="add">
          <ac:chgData name="Pedro Lopes" userId="40e56e32-8db9-4762-81b5-b0f12e13e658" providerId="ADAL" clId="{87C56D44-CB7A-E94A-BE6D-22C334C385F1}" dt="2023-04-27T17:13:51.416" v="278" actId="164"/>
          <ac:grpSpMkLst>
            <pc:docMk/>
            <pc:sldMk cId="4283568258" sldId="286"/>
            <ac:grpSpMk id="6" creationId="{BCC31B88-87F9-2621-21D1-D6B69FAD339A}"/>
          </ac:grpSpMkLst>
        </pc:grpChg>
        <pc:grpChg chg="add del">
          <ac:chgData name="Pedro Lopes" userId="40e56e32-8db9-4762-81b5-b0f12e13e658" providerId="ADAL" clId="{87C56D44-CB7A-E94A-BE6D-22C334C385F1}" dt="2023-04-27T17:12:49.263" v="268" actId="165"/>
          <ac:grpSpMkLst>
            <pc:docMk/>
            <pc:sldMk cId="4283568258" sldId="286"/>
            <ac:grpSpMk id="8" creationId="{8F17CE9A-C314-7D37-9264-2048C58D5895}"/>
          </ac:grpSpMkLst>
        </pc:grpChg>
        <pc:picChg chg="add mod topLvl">
          <ac:chgData name="Pedro Lopes" userId="40e56e32-8db9-4762-81b5-b0f12e13e658" providerId="ADAL" clId="{87C56D44-CB7A-E94A-BE6D-22C334C385F1}" dt="2023-04-27T17:12:58.317" v="272" actId="167"/>
          <ac:picMkLst>
            <pc:docMk/>
            <pc:sldMk cId="4283568258" sldId="286"/>
            <ac:picMk id="2" creationId="{812DB131-89B8-7424-74ED-F71ED4B645E6}"/>
          </ac:picMkLst>
        </pc:picChg>
        <pc:picChg chg="mod">
          <ac:chgData name="Pedro Lopes" userId="40e56e32-8db9-4762-81b5-b0f12e13e658" providerId="ADAL" clId="{87C56D44-CB7A-E94A-BE6D-22C334C385F1}" dt="2023-04-19T14:55:21.344" v="250" actId="1076"/>
          <ac:picMkLst>
            <pc:docMk/>
            <pc:sldMk cId="4283568258" sldId="286"/>
            <ac:picMk id="7" creationId="{744B097C-2B7B-87B3-F8B7-A3CA88D57067}"/>
          </ac:picMkLst>
        </pc:picChg>
      </pc:sldChg>
      <pc:sldChg chg="addSp delSp modSp mod modAnim">
        <pc:chgData name="Pedro Lopes" userId="40e56e32-8db9-4762-81b5-b0f12e13e658" providerId="ADAL" clId="{87C56D44-CB7A-E94A-BE6D-22C334C385F1}" dt="2023-06-30T13:05:32.961" v="379" actId="20577"/>
        <pc:sldMkLst>
          <pc:docMk/>
          <pc:sldMk cId="237544605" sldId="292"/>
        </pc:sldMkLst>
        <pc:spChg chg="mod">
          <ac:chgData name="Pedro Lopes" userId="40e56e32-8db9-4762-81b5-b0f12e13e658" providerId="ADAL" clId="{87C56D44-CB7A-E94A-BE6D-22C334C385F1}" dt="2023-06-30T13:05:18.789" v="372" actId="20577"/>
          <ac:spMkLst>
            <pc:docMk/>
            <pc:sldMk cId="237544605" sldId="292"/>
            <ac:spMk id="5" creationId="{47E54483-0DDA-0CF0-12CE-2D548F96C898}"/>
          </ac:spMkLst>
        </pc:spChg>
        <pc:spChg chg="mod">
          <ac:chgData name="Pedro Lopes" userId="40e56e32-8db9-4762-81b5-b0f12e13e658" providerId="ADAL" clId="{87C56D44-CB7A-E94A-BE6D-22C334C385F1}" dt="2023-06-30T13:05:32.961" v="379" actId="20577"/>
          <ac:spMkLst>
            <pc:docMk/>
            <pc:sldMk cId="237544605" sldId="292"/>
            <ac:spMk id="6" creationId="{07290D52-CF77-A427-6486-155B0C6BC536}"/>
          </ac:spMkLst>
        </pc:spChg>
        <pc:picChg chg="add del mod">
          <ac:chgData name="Pedro Lopes" userId="40e56e32-8db9-4762-81b5-b0f12e13e658" providerId="ADAL" clId="{87C56D44-CB7A-E94A-BE6D-22C334C385F1}" dt="2023-04-19T14:55:10.565" v="246" actId="21"/>
          <ac:picMkLst>
            <pc:docMk/>
            <pc:sldMk cId="237544605" sldId="292"/>
            <ac:picMk id="1026" creationId="{6F520228-E72D-BB31-A801-E7B2D77829DA}"/>
          </ac:picMkLst>
        </pc:picChg>
      </pc:sldChg>
      <pc:sldChg chg="modSp mod">
        <pc:chgData name="Pedro Lopes" userId="40e56e32-8db9-4762-81b5-b0f12e13e658" providerId="ADAL" clId="{87C56D44-CB7A-E94A-BE6D-22C334C385F1}" dt="2023-04-19T13:41:34.052" v="239" actId="12"/>
        <pc:sldMkLst>
          <pc:docMk/>
          <pc:sldMk cId="2799207890" sldId="2147376623"/>
        </pc:sldMkLst>
        <pc:spChg chg="mod">
          <ac:chgData name="Pedro Lopes" userId="40e56e32-8db9-4762-81b5-b0f12e13e658" providerId="ADAL" clId="{87C56D44-CB7A-E94A-BE6D-22C334C385F1}" dt="2023-04-19T13:41:34.052" v="239" actId="12"/>
          <ac:spMkLst>
            <pc:docMk/>
            <pc:sldMk cId="2799207890" sldId="2147376623"/>
            <ac:spMk id="78" creationId="{B292102E-D67E-A91D-186B-6E6C4725C6FE}"/>
          </ac:spMkLst>
        </pc:spChg>
      </pc:sldChg>
      <pc:sldChg chg="modSp mod">
        <pc:chgData name="Pedro Lopes" userId="40e56e32-8db9-4762-81b5-b0f12e13e658" providerId="ADAL" clId="{87C56D44-CB7A-E94A-BE6D-22C334C385F1}" dt="2023-04-27T18:11:08.478" v="281" actId="20577"/>
        <pc:sldMkLst>
          <pc:docMk/>
          <pc:sldMk cId="2479261159" sldId="2147376625"/>
        </pc:sldMkLst>
        <pc:spChg chg="mod">
          <ac:chgData name="Pedro Lopes" userId="40e56e32-8db9-4762-81b5-b0f12e13e658" providerId="ADAL" clId="{87C56D44-CB7A-E94A-BE6D-22C334C385F1}" dt="2023-04-27T18:11:08.478" v="281" actId="20577"/>
          <ac:spMkLst>
            <pc:docMk/>
            <pc:sldMk cId="2479261159" sldId="2147376625"/>
            <ac:spMk id="5" creationId="{19CDFCE5-53B4-E79F-10E4-2486AF229F5E}"/>
          </ac:spMkLst>
        </pc:spChg>
      </pc:sldChg>
      <pc:sldChg chg="modSp mod">
        <pc:chgData name="Pedro Lopes" userId="40e56e32-8db9-4762-81b5-b0f12e13e658" providerId="ADAL" clId="{87C56D44-CB7A-E94A-BE6D-22C334C385F1}" dt="2023-04-18T18:21:33.291" v="213" actId="1038"/>
        <pc:sldMkLst>
          <pc:docMk/>
          <pc:sldMk cId="747835074" sldId="2147376629"/>
        </pc:sldMkLst>
        <pc:spChg chg="mod">
          <ac:chgData name="Pedro Lopes" userId="40e56e32-8db9-4762-81b5-b0f12e13e658" providerId="ADAL" clId="{87C56D44-CB7A-E94A-BE6D-22C334C385F1}" dt="2023-04-18T18:21:33.291" v="213" actId="1038"/>
          <ac:spMkLst>
            <pc:docMk/>
            <pc:sldMk cId="747835074" sldId="2147376629"/>
            <ac:spMk id="12" creationId="{472E404B-E78C-D23B-1126-5E5FEAFC6308}"/>
          </ac:spMkLst>
        </pc:spChg>
      </pc:sldChg>
      <pc:sldChg chg="addSp delSp modSp mod">
        <pc:chgData name="Pedro Lopes" userId="40e56e32-8db9-4762-81b5-b0f12e13e658" providerId="ADAL" clId="{87C56D44-CB7A-E94A-BE6D-22C334C385F1}" dt="2023-04-27T18:18:37.324" v="346" actId="1038"/>
        <pc:sldMkLst>
          <pc:docMk/>
          <pc:sldMk cId="2350611993" sldId="2147376631"/>
        </pc:sldMkLst>
        <pc:spChg chg="mod">
          <ac:chgData name="Pedro Lopes" userId="40e56e32-8db9-4762-81b5-b0f12e13e658" providerId="ADAL" clId="{87C56D44-CB7A-E94A-BE6D-22C334C385F1}" dt="2023-04-27T18:18:03.939" v="337" actId="1076"/>
          <ac:spMkLst>
            <pc:docMk/>
            <pc:sldMk cId="2350611993" sldId="2147376631"/>
            <ac:spMk id="26" creationId="{B16CBEC5-4806-EB2B-4318-9DF7395CDFD6}"/>
          </ac:spMkLst>
        </pc:spChg>
        <pc:spChg chg="mod">
          <ac:chgData name="Pedro Lopes" userId="40e56e32-8db9-4762-81b5-b0f12e13e658" providerId="ADAL" clId="{87C56D44-CB7A-E94A-BE6D-22C334C385F1}" dt="2023-04-27T18:18:11.989" v="338" actId="1076"/>
          <ac:spMkLst>
            <pc:docMk/>
            <pc:sldMk cId="2350611993" sldId="2147376631"/>
            <ac:spMk id="27" creationId="{53F59268-F610-88B5-504C-FAFF69A1FF8E}"/>
          </ac:spMkLst>
        </pc:spChg>
        <pc:grpChg chg="del">
          <ac:chgData name="Pedro Lopes" userId="40e56e32-8db9-4762-81b5-b0f12e13e658" providerId="ADAL" clId="{87C56D44-CB7A-E94A-BE6D-22C334C385F1}" dt="2023-04-27T18:13:46.307" v="314" actId="478"/>
          <ac:grpSpMkLst>
            <pc:docMk/>
            <pc:sldMk cId="2350611993" sldId="2147376631"/>
            <ac:grpSpMk id="7" creationId="{82285483-7AD2-5593-7B6D-040ABBE30962}"/>
          </ac:grpSpMkLst>
        </pc:grpChg>
        <pc:grpChg chg="del">
          <ac:chgData name="Pedro Lopes" userId="40e56e32-8db9-4762-81b5-b0f12e13e658" providerId="ADAL" clId="{87C56D44-CB7A-E94A-BE6D-22C334C385F1}" dt="2023-04-27T18:17:53.936" v="332" actId="478"/>
          <ac:grpSpMkLst>
            <pc:docMk/>
            <pc:sldMk cId="2350611993" sldId="2147376631"/>
            <ac:grpSpMk id="20" creationId="{42399117-326B-91B2-77C6-47913109798E}"/>
          </ac:grpSpMkLst>
        </pc:grpChg>
        <pc:picChg chg="add mod modCrop">
          <ac:chgData name="Pedro Lopes" userId="40e56e32-8db9-4762-81b5-b0f12e13e658" providerId="ADAL" clId="{87C56D44-CB7A-E94A-BE6D-22C334C385F1}" dt="2023-04-27T18:15:22.324" v="327" actId="1076"/>
          <ac:picMkLst>
            <pc:docMk/>
            <pc:sldMk cId="2350611993" sldId="2147376631"/>
            <ac:picMk id="2" creationId="{113865F5-8777-9876-D769-AB3588D3D386}"/>
          </ac:picMkLst>
        </pc:picChg>
        <pc:picChg chg="add mod">
          <ac:chgData name="Pedro Lopes" userId="40e56e32-8db9-4762-81b5-b0f12e13e658" providerId="ADAL" clId="{87C56D44-CB7A-E94A-BE6D-22C334C385F1}" dt="2023-04-27T18:18:37.324" v="346" actId="1038"/>
          <ac:picMkLst>
            <pc:docMk/>
            <pc:sldMk cId="2350611993" sldId="2147376631"/>
            <ac:picMk id="6" creationId="{869BE00C-7EC9-400F-B0AB-3207F77C8C4B}"/>
          </ac:picMkLst>
        </pc:picChg>
        <pc:picChg chg="add mod">
          <ac:chgData name="Pedro Lopes" userId="40e56e32-8db9-4762-81b5-b0f12e13e658" providerId="ADAL" clId="{87C56D44-CB7A-E94A-BE6D-22C334C385F1}" dt="2023-04-27T18:18:21.439" v="340" actId="14100"/>
          <ac:picMkLst>
            <pc:docMk/>
            <pc:sldMk cId="2350611993" sldId="2147376631"/>
            <ac:picMk id="23" creationId="{C6F3957B-9F29-D96B-E6C9-D50DDC4FC5A8}"/>
          </ac:picMkLst>
        </pc:picChg>
      </pc:sldChg>
      <pc:sldChg chg="addSp delSp modSp mod">
        <pc:chgData name="Pedro Lopes" userId="40e56e32-8db9-4762-81b5-b0f12e13e658" providerId="ADAL" clId="{87C56D44-CB7A-E94A-BE6D-22C334C385F1}" dt="2023-04-27T18:17:51.998" v="331" actId="21"/>
        <pc:sldMkLst>
          <pc:docMk/>
          <pc:sldMk cId="1754509754" sldId="2147376737"/>
        </pc:sldMkLst>
        <pc:spChg chg="mod">
          <ac:chgData name="Pedro Lopes" userId="40e56e32-8db9-4762-81b5-b0f12e13e658" providerId="ADAL" clId="{87C56D44-CB7A-E94A-BE6D-22C334C385F1}" dt="2023-04-18T18:29:13.437" v="230" actId="20577"/>
          <ac:spMkLst>
            <pc:docMk/>
            <pc:sldMk cId="1754509754" sldId="2147376737"/>
            <ac:spMk id="31" creationId="{40871608-9F26-AE1C-BD91-A9A27A087814}"/>
          </ac:spMkLst>
        </pc:spChg>
        <pc:picChg chg="add del mod">
          <ac:chgData name="Pedro Lopes" userId="40e56e32-8db9-4762-81b5-b0f12e13e658" providerId="ADAL" clId="{87C56D44-CB7A-E94A-BE6D-22C334C385F1}" dt="2023-04-27T18:17:51.998" v="331" actId="21"/>
          <ac:picMkLst>
            <pc:docMk/>
            <pc:sldMk cId="1754509754" sldId="2147376737"/>
            <ac:picMk id="3" creationId="{D4ABD3E2-7E9F-CD52-A948-00C70104F3DB}"/>
          </ac:picMkLst>
        </pc:picChg>
      </pc:sldChg>
      <pc:sldChg chg="del">
        <pc:chgData name="Pedro Lopes" userId="40e56e32-8db9-4762-81b5-b0f12e13e658" providerId="ADAL" clId="{87C56D44-CB7A-E94A-BE6D-22C334C385F1}" dt="2023-04-18T18:31:07.776" v="237" actId="2696"/>
        <pc:sldMkLst>
          <pc:docMk/>
          <pc:sldMk cId="2207599240" sldId="2147376742"/>
        </pc:sldMkLst>
      </pc:sldChg>
      <pc:sldChg chg="modAnim">
        <pc:chgData name="Pedro Lopes" userId="40e56e32-8db9-4762-81b5-b0f12e13e658" providerId="ADAL" clId="{87C56D44-CB7A-E94A-BE6D-22C334C385F1}" dt="2023-04-29T13:18:00.162" v="348"/>
        <pc:sldMkLst>
          <pc:docMk/>
          <pc:sldMk cId="1337754654" sldId="2147376747"/>
        </pc:sldMkLst>
      </pc:sldChg>
      <pc:sldChg chg="modSp">
        <pc:chgData name="Pedro Lopes" userId="40e56e32-8db9-4762-81b5-b0f12e13e658" providerId="ADAL" clId="{87C56D44-CB7A-E94A-BE6D-22C334C385F1}" dt="2023-04-18T18:28:16.217" v="218" actId="20577"/>
        <pc:sldMkLst>
          <pc:docMk/>
          <pc:sldMk cId="782010024" sldId="2147376748"/>
        </pc:sldMkLst>
        <pc:spChg chg="mod">
          <ac:chgData name="Pedro Lopes" userId="40e56e32-8db9-4762-81b5-b0f12e13e658" providerId="ADAL" clId="{87C56D44-CB7A-E94A-BE6D-22C334C385F1}" dt="2023-04-18T18:28:16.217" v="218" actId="20577"/>
          <ac:spMkLst>
            <pc:docMk/>
            <pc:sldMk cId="782010024" sldId="2147376748"/>
            <ac:spMk id="24" creationId="{831C1CAC-CAEC-7335-44F3-28DA4FB5F4BF}"/>
          </ac:spMkLst>
        </pc:spChg>
      </pc:sldChg>
      <pc:sldChg chg="modSp mod modAnim delCm modCm">
        <pc:chgData name="Pedro Lopes" userId="40e56e32-8db9-4762-81b5-b0f12e13e658" providerId="ADAL" clId="{87C56D44-CB7A-E94A-BE6D-22C334C385F1}" dt="2023-06-30T13:05:44.485" v="402" actId="20577"/>
        <pc:sldMkLst>
          <pc:docMk/>
          <pc:sldMk cId="2462203731" sldId="2147376749"/>
        </pc:sldMkLst>
        <pc:spChg chg="mod">
          <ac:chgData name="Pedro Lopes" userId="40e56e32-8db9-4762-81b5-b0f12e13e658" providerId="ADAL" clId="{87C56D44-CB7A-E94A-BE6D-22C334C385F1}" dt="2023-06-30T13:05:44.485" v="402" actId="20577"/>
          <ac:spMkLst>
            <pc:docMk/>
            <pc:sldMk cId="2462203731" sldId="2147376749"/>
            <ac:spMk id="5" creationId="{47E54483-0DDA-0CF0-12CE-2D548F96C898}"/>
          </ac:spMkLst>
        </pc:spChg>
        <pc:spChg chg="mod">
          <ac:chgData name="Pedro Lopes" userId="40e56e32-8db9-4762-81b5-b0f12e13e658" providerId="ADAL" clId="{87C56D44-CB7A-E94A-BE6D-22C334C385F1}" dt="2023-06-01T13:47:24.124" v="352" actId="20577"/>
          <ac:spMkLst>
            <pc:docMk/>
            <pc:sldMk cId="2462203731" sldId="2147376749"/>
            <ac:spMk id="6" creationId="{07290D52-CF77-A427-6486-155B0C6BC536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Pedro Lopes" userId="40e56e32-8db9-4762-81b5-b0f12e13e658" providerId="ADAL" clId="{87C56D44-CB7A-E94A-BE6D-22C334C385F1}" dt="2023-04-19T13:42:01.175" v="243"/>
              <pc2:cmMkLst xmlns:pc2="http://schemas.microsoft.com/office/powerpoint/2019/9/main/command">
                <pc:docMk/>
                <pc:sldMk cId="2462203731" sldId="2147376749"/>
                <pc2:cmMk id="{C047299F-BCBB-4B82-8A0A-E7471FDFC198}"/>
              </pc2:cmMkLst>
            </pc226:cmChg>
          </p:ext>
        </pc:extLst>
      </pc:sldChg>
      <pc:sldChg chg="delSp modSp new mod modShow">
        <pc:chgData name="Pedro Lopes" userId="40e56e32-8db9-4762-81b5-b0f12e13e658" providerId="ADAL" clId="{87C56D44-CB7A-E94A-BE6D-22C334C385F1}" dt="2023-06-30T13:05:04.331" v="353" actId="729"/>
        <pc:sldMkLst>
          <pc:docMk/>
          <pc:sldMk cId="741801820" sldId="2147376751"/>
        </pc:sldMkLst>
        <pc:spChg chg="mod">
          <ac:chgData name="Pedro Lopes" userId="40e56e32-8db9-4762-81b5-b0f12e13e658" providerId="ADAL" clId="{87C56D44-CB7A-E94A-BE6D-22C334C385F1}" dt="2023-04-19T13:41:44.535" v="240" actId="12"/>
          <ac:spMkLst>
            <pc:docMk/>
            <pc:sldMk cId="741801820" sldId="2147376751"/>
            <ac:spMk id="2" creationId="{78C297C4-5519-D312-E6A9-8C1C7889B844}"/>
          </ac:spMkLst>
        </pc:spChg>
        <pc:spChg chg="del">
          <ac:chgData name="Pedro Lopes" userId="40e56e32-8db9-4762-81b5-b0f12e13e658" providerId="ADAL" clId="{87C56D44-CB7A-E94A-BE6D-22C334C385F1}" dt="2023-04-18T17:31:46.292" v="66" actId="478"/>
          <ac:spMkLst>
            <pc:docMk/>
            <pc:sldMk cId="741801820" sldId="2147376751"/>
            <ac:spMk id="3" creationId="{A81BE091-31E0-909F-2761-A1BAEC091CC8}"/>
          </ac:spMkLst>
        </pc:spChg>
        <pc:spChg chg="mod">
          <ac:chgData name="Pedro Lopes" userId="40e56e32-8db9-4762-81b5-b0f12e13e658" providerId="ADAL" clId="{87C56D44-CB7A-E94A-BE6D-22C334C385F1}" dt="2023-04-18T17:31:41.389" v="65" actId="20577"/>
          <ac:spMkLst>
            <pc:docMk/>
            <pc:sldMk cId="741801820" sldId="2147376751"/>
            <ac:spMk id="5" creationId="{4E911A24-B8B3-ADDD-BE4B-051C820A9A86}"/>
          </ac:spMkLst>
        </pc:spChg>
      </pc:sldChg>
    </pc:docChg>
  </pc:docChgLst>
  <pc:docChgLst>
    <pc:chgData name="Pedro Lopes" userId="S::plopes@quera.com::40e56e32-8db9-4762-81b5-b0f12e13e658" providerId="AD" clId="Web-{6F1F21C7-31A1-4457-A501-E583AB73DC1C}"/>
    <pc:docChg chg="modSld">
      <pc:chgData name="Pedro Lopes" userId="S::plopes@quera.com::40e56e32-8db9-4762-81b5-b0f12e13e658" providerId="AD" clId="Web-{6F1F21C7-31A1-4457-A501-E583AB73DC1C}" dt="2023-06-05T17:55:24.437" v="2" actId="20577"/>
      <pc:docMkLst>
        <pc:docMk/>
      </pc:docMkLst>
      <pc:sldChg chg="modSp">
        <pc:chgData name="Pedro Lopes" userId="S::plopes@quera.com::40e56e32-8db9-4762-81b5-b0f12e13e658" providerId="AD" clId="Web-{6F1F21C7-31A1-4457-A501-E583AB73DC1C}" dt="2023-06-05T17:55:24.437" v="2" actId="20577"/>
        <pc:sldMkLst>
          <pc:docMk/>
          <pc:sldMk cId="1184522372" sldId="2147376620"/>
        </pc:sldMkLst>
        <pc:spChg chg="mod">
          <ac:chgData name="Pedro Lopes" userId="S::plopes@quera.com::40e56e32-8db9-4762-81b5-b0f12e13e658" providerId="AD" clId="Web-{6F1F21C7-31A1-4457-A501-E583AB73DC1C}" dt="2023-06-05T17:55:24.437" v="2" actId="20577"/>
          <ac:spMkLst>
            <pc:docMk/>
            <pc:sldMk cId="1184522372" sldId="2147376620"/>
            <ac:spMk id="14" creationId="{2690037B-C763-64CA-8769-2E8CEEED1FF0}"/>
          </ac:spMkLst>
        </pc:spChg>
      </pc:sldChg>
    </pc:docChg>
  </pc:docChgLst>
  <pc:docChgLst>
    <pc:chgData name="Pedro Lopes" userId="40e56e32-8db9-4762-81b5-b0f12e13e658" providerId="ADAL" clId="{A07982CB-E588-A949-A307-E7072B896221}"/>
    <pc:docChg chg="undo custSel addSld delSld modSld sldOrd">
      <pc:chgData name="Pedro Lopes" userId="40e56e32-8db9-4762-81b5-b0f12e13e658" providerId="ADAL" clId="{A07982CB-E588-A949-A307-E7072B896221}" dt="2023-03-14T17:07:21.280" v="533"/>
      <pc:docMkLst>
        <pc:docMk/>
      </pc:docMkLst>
      <pc:sldChg chg="add">
        <pc:chgData name="Pedro Lopes" userId="40e56e32-8db9-4762-81b5-b0f12e13e658" providerId="ADAL" clId="{A07982CB-E588-A949-A307-E7072B896221}" dt="2023-03-14T17:07:21.280" v="533"/>
        <pc:sldMkLst>
          <pc:docMk/>
          <pc:sldMk cId="3611892251" sldId="256"/>
        </pc:sldMkLst>
      </pc:sldChg>
      <pc:sldChg chg="del">
        <pc:chgData name="Pedro Lopes" userId="40e56e32-8db9-4762-81b5-b0f12e13e658" providerId="ADAL" clId="{A07982CB-E588-A949-A307-E7072B896221}" dt="2023-03-14T17:07:16.159" v="532" actId="2696"/>
        <pc:sldMkLst>
          <pc:docMk/>
          <pc:sldMk cId="3986495510" sldId="256"/>
        </pc:sldMkLst>
      </pc:sldChg>
      <pc:sldChg chg="delSp modSp mod">
        <pc:chgData name="Pedro Lopes" userId="40e56e32-8db9-4762-81b5-b0f12e13e658" providerId="ADAL" clId="{A07982CB-E588-A949-A307-E7072B896221}" dt="2023-02-27T22:08:19.861" v="443" actId="1076"/>
        <pc:sldMkLst>
          <pc:docMk/>
          <pc:sldMk cId="1323474603" sldId="284"/>
        </pc:sldMkLst>
        <pc:spChg chg="mod">
          <ac:chgData name="Pedro Lopes" userId="40e56e32-8db9-4762-81b5-b0f12e13e658" providerId="ADAL" clId="{A07982CB-E588-A949-A307-E7072B896221}" dt="2023-02-27T22:07:44.979" v="433" actId="20577"/>
          <ac:spMkLst>
            <pc:docMk/>
            <pc:sldMk cId="1323474603" sldId="284"/>
            <ac:spMk id="6" creationId="{643598E8-6BEA-1762-6E58-D5BEDD465AD4}"/>
          </ac:spMkLst>
        </pc:spChg>
        <pc:spChg chg="del">
          <ac:chgData name="Pedro Lopes" userId="40e56e32-8db9-4762-81b5-b0f12e13e658" providerId="ADAL" clId="{A07982CB-E588-A949-A307-E7072B896221}" dt="2023-02-27T22:07:55.207" v="434" actId="478"/>
          <ac:spMkLst>
            <pc:docMk/>
            <pc:sldMk cId="1323474603" sldId="284"/>
            <ac:spMk id="7" creationId="{48953C22-6E11-44D6-19EE-E7D866DF8120}"/>
          </ac:spMkLst>
        </pc:spChg>
        <pc:spChg chg="mod">
          <ac:chgData name="Pedro Lopes" userId="40e56e32-8db9-4762-81b5-b0f12e13e658" providerId="ADAL" clId="{A07982CB-E588-A949-A307-E7072B896221}" dt="2023-02-27T22:08:08.913" v="439" actId="1076"/>
          <ac:spMkLst>
            <pc:docMk/>
            <pc:sldMk cId="1323474603" sldId="284"/>
            <ac:spMk id="9" creationId="{B40F0BDF-4F45-F0CE-B37A-014A6269BDBE}"/>
          </ac:spMkLst>
        </pc:spChg>
        <pc:picChg chg="mod">
          <ac:chgData name="Pedro Lopes" userId="40e56e32-8db9-4762-81b5-b0f12e13e658" providerId="ADAL" clId="{A07982CB-E588-A949-A307-E7072B896221}" dt="2023-02-27T22:08:19.861" v="443" actId="1076"/>
          <ac:picMkLst>
            <pc:docMk/>
            <pc:sldMk cId="1323474603" sldId="284"/>
            <ac:picMk id="2" creationId="{AA30330A-F7F6-0491-EF89-924AE983D192}"/>
          </ac:picMkLst>
        </pc:picChg>
      </pc:sldChg>
      <pc:sldChg chg="del">
        <pc:chgData name="Pedro Lopes" userId="40e56e32-8db9-4762-81b5-b0f12e13e658" providerId="ADAL" clId="{A07982CB-E588-A949-A307-E7072B896221}" dt="2023-02-27T22:09:19.228" v="444" actId="2696"/>
        <pc:sldMkLst>
          <pc:docMk/>
          <pc:sldMk cId="3837053352" sldId="289"/>
        </pc:sldMkLst>
      </pc:sldChg>
      <pc:sldChg chg="ord modAnim">
        <pc:chgData name="Pedro Lopes" userId="40e56e32-8db9-4762-81b5-b0f12e13e658" providerId="ADAL" clId="{A07982CB-E588-A949-A307-E7072B896221}" dt="2023-03-14T17:07:12.488" v="531" actId="20578"/>
        <pc:sldMkLst>
          <pc:docMk/>
          <pc:sldMk cId="237544605" sldId="292"/>
        </pc:sldMkLst>
      </pc:sldChg>
      <pc:sldChg chg="modSp mod">
        <pc:chgData name="Pedro Lopes" userId="40e56e32-8db9-4762-81b5-b0f12e13e658" providerId="ADAL" clId="{A07982CB-E588-A949-A307-E7072B896221}" dt="2023-02-27T22:09:45.694" v="449" actId="14100"/>
        <pc:sldMkLst>
          <pc:docMk/>
          <pc:sldMk cId="187217567" sldId="2147376633"/>
        </pc:sldMkLst>
        <pc:picChg chg="mod">
          <ac:chgData name="Pedro Lopes" userId="40e56e32-8db9-4762-81b5-b0f12e13e658" providerId="ADAL" clId="{A07982CB-E588-A949-A307-E7072B896221}" dt="2023-02-27T22:09:42.641" v="448" actId="1076"/>
          <ac:picMkLst>
            <pc:docMk/>
            <pc:sldMk cId="187217567" sldId="2147376633"/>
            <ac:picMk id="10" creationId="{D5A84C3A-D9DB-07CC-457B-ABBA4CE7219E}"/>
          </ac:picMkLst>
        </pc:picChg>
        <pc:picChg chg="mod">
          <ac:chgData name="Pedro Lopes" userId="40e56e32-8db9-4762-81b5-b0f12e13e658" providerId="ADAL" clId="{A07982CB-E588-A949-A307-E7072B896221}" dt="2023-02-27T22:09:38.010" v="446" actId="1076"/>
          <ac:picMkLst>
            <pc:docMk/>
            <pc:sldMk cId="187217567" sldId="2147376633"/>
            <ac:picMk id="11" creationId="{BF41AF48-7F71-0E72-F2BC-A683FA078A86}"/>
          </ac:picMkLst>
        </pc:picChg>
        <pc:picChg chg="mod">
          <ac:chgData name="Pedro Lopes" userId="40e56e32-8db9-4762-81b5-b0f12e13e658" providerId="ADAL" clId="{A07982CB-E588-A949-A307-E7072B896221}" dt="2023-02-27T22:09:35.344" v="445" actId="14100"/>
          <ac:picMkLst>
            <pc:docMk/>
            <pc:sldMk cId="187217567" sldId="2147376633"/>
            <ac:picMk id="12" creationId="{A5A41854-A2CE-2966-9999-DCB45FD89D8A}"/>
          </ac:picMkLst>
        </pc:picChg>
        <pc:picChg chg="mod">
          <ac:chgData name="Pedro Lopes" userId="40e56e32-8db9-4762-81b5-b0f12e13e658" providerId="ADAL" clId="{A07982CB-E588-A949-A307-E7072B896221}" dt="2023-02-27T22:09:45.694" v="449" actId="14100"/>
          <ac:picMkLst>
            <pc:docMk/>
            <pc:sldMk cId="187217567" sldId="2147376633"/>
            <ac:picMk id="17" creationId="{64C8B22F-9E0E-0CA8-3ED8-2A44E9DED778}"/>
          </ac:picMkLst>
        </pc:picChg>
      </pc:sldChg>
      <pc:sldChg chg="ord">
        <pc:chgData name="Pedro Lopes" userId="40e56e32-8db9-4762-81b5-b0f12e13e658" providerId="ADAL" clId="{A07982CB-E588-A949-A307-E7072B896221}" dt="2023-02-28T15:05:58.561" v="526" actId="20578"/>
        <pc:sldMkLst>
          <pc:docMk/>
          <pc:sldMk cId="128996019" sldId="2147376737"/>
        </pc:sldMkLst>
      </pc:sldChg>
      <pc:sldChg chg="modAnim">
        <pc:chgData name="Pedro Lopes" userId="40e56e32-8db9-4762-81b5-b0f12e13e658" providerId="ADAL" clId="{A07982CB-E588-A949-A307-E7072B896221}" dt="2023-02-28T14:04:22.548" v="476"/>
        <pc:sldMkLst>
          <pc:docMk/>
          <pc:sldMk cId="3868672446" sldId="2147376743"/>
        </pc:sldMkLst>
      </pc:sldChg>
      <pc:sldChg chg="modSp mod">
        <pc:chgData name="Pedro Lopes" userId="40e56e32-8db9-4762-81b5-b0f12e13e658" providerId="ADAL" clId="{A07982CB-E588-A949-A307-E7072B896221}" dt="2023-02-27T21:40:01.793" v="280" actId="1038"/>
        <pc:sldMkLst>
          <pc:docMk/>
          <pc:sldMk cId="4237627007" sldId="2147376744"/>
        </pc:sldMkLst>
        <pc:grpChg chg="mod">
          <ac:chgData name="Pedro Lopes" userId="40e56e32-8db9-4762-81b5-b0f12e13e658" providerId="ADAL" clId="{A07982CB-E588-A949-A307-E7072B896221}" dt="2023-02-27T21:40:01.793" v="280" actId="1038"/>
          <ac:grpSpMkLst>
            <pc:docMk/>
            <pc:sldMk cId="4237627007" sldId="2147376744"/>
            <ac:grpSpMk id="16" creationId="{983E8A69-C426-2936-3F11-70C76BCE29D9}"/>
          </ac:grpSpMkLst>
        </pc:grpChg>
        <pc:grpChg chg="mod">
          <ac:chgData name="Pedro Lopes" userId="40e56e32-8db9-4762-81b5-b0f12e13e658" providerId="ADAL" clId="{A07982CB-E588-A949-A307-E7072B896221}" dt="2023-02-27T21:40:01.793" v="280" actId="1038"/>
          <ac:grpSpMkLst>
            <pc:docMk/>
            <pc:sldMk cId="4237627007" sldId="2147376744"/>
            <ac:grpSpMk id="22" creationId="{13AE36AA-DDCB-FC84-AEE6-8B10403D8292}"/>
          </ac:grpSpMkLst>
        </pc:grpChg>
      </pc:sldChg>
      <pc:sldChg chg="addSp delSp modSp mod modAnim">
        <pc:chgData name="Pedro Lopes" userId="40e56e32-8db9-4762-81b5-b0f12e13e658" providerId="ADAL" clId="{A07982CB-E588-A949-A307-E7072B896221}" dt="2023-02-28T14:10:29.667" v="516"/>
        <pc:sldMkLst>
          <pc:docMk/>
          <pc:sldMk cId="1848142922" sldId="2147376747"/>
        </pc:sldMkLst>
        <pc:spChg chg="add del mod">
          <ac:chgData name="Pedro Lopes" userId="40e56e32-8db9-4762-81b5-b0f12e13e658" providerId="ADAL" clId="{A07982CB-E588-A949-A307-E7072B896221}" dt="2023-02-27T21:58:22.028" v="303" actId="478"/>
          <ac:spMkLst>
            <pc:docMk/>
            <pc:sldMk cId="1848142922" sldId="2147376747"/>
            <ac:spMk id="2" creationId="{19ABA028-C0E1-1791-57DD-DCA157C22DD6}"/>
          </ac:spMkLst>
        </pc:spChg>
        <pc:spChg chg="mod">
          <ac:chgData name="Pedro Lopes" userId="40e56e32-8db9-4762-81b5-b0f12e13e658" providerId="ADAL" clId="{A07982CB-E588-A949-A307-E7072B896221}" dt="2023-02-27T21:58:29.084" v="305" actId="404"/>
          <ac:spMkLst>
            <pc:docMk/>
            <pc:sldMk cId="1848142922" sldId="2147376747"/>
            <ac:spMk id="5" creationId="{01A98163-F195-329F-FE2B-EDF1F099547A}"/>
          </ac:spMkLst>
        </pc:spChg>
        <pc:spChg chg="mod">
          <ac:chgData name="Pedro Lopes" userId="40e56e32-8db9-4762-81b5-b0f12e13e658" providerId="ADAL" clId="{A07982CB-E588-A949-A307-E7072B896221}" dt="2023-02-27T21:59:04.300" v="328" actId="1076"/>
          <ac:spMkLst>
            <pc:docMk/>
            <pc:sldMk cId="1848142922" sldId="2147376747"/>
            <ac:spMk id="6" creationId="{BC23DE18-ED7F-2D91-BDC8-92EF3DFEDD82}"/>
          </ac:spMkLst>
        </pc:spChg>
        <pc:spChg chg="mod">
          <ac:chgData name="Pedro Lopes" userId="40e56e32-8db9-4762-81b5-b0f12e13e658" providerId="ADAL" clId="{A07982CB-E588-A949-A307-E7072B896221}" dt="2023-02-27T21:26:39.118" v="147" actId="1038"/>
          <ac:spMkLst>
            <pc:docMk/>
            <pc:sldMk cId="1848142922" sldId="2147376747"/>
            <ac:spMk id="7" creationId="{356EDDAA-564E-BD6E-6ED7-2AF731AA52F9}"/>
          </ac:spMkLst>
        </pc:spChg>
        <pc:spChg chg="mod">
          <ac:chgData name="Pedro Lopes" userId="40e56e32-8db9-4762-81b5-b0f12e13e658" providerId="ADAL" clId="{A07982CB-E588-A949-A307-E7072B896221}" dt="2023-02-27T21:26:52.149" v="153" actId="1037"/>
          <ac:spMkLst>
            <pc:docMk/>
            <pc:sldMk cId="1848142922" sldId="2147376747"/>
            <ac:spMk id="8" creationId="{058B73B7-DA0A-3CF0-9E0D-0FCD10ED362C}"/>
          </ac:spMkLst>
        </pc:spChg>
        <pc:spChg chg="mod">
          <ac:chgData name="Pedro Lopes" userId="40e56e32-8db9-4762-81b5-b0f12e13e658" providerId="ADAL" clId="{A07982CB-E588-A949-A307-E7072B896221}" dt="2023-02-27T21:17:49.534" v="39" actId="1076"/>
          <ac:spMkLst>
            <pc:docMk/>
            <pc:sldMk cId="1848142922" sldId="2147376747"/>
            <ac:spMk id="9" creationId="{162CEBF4-BA4B-033F-CD57-032C1553F9F6}"/>
          </ac:spMkLst>
        </pc:spChg>
        <pc:spChg chg="mod">
          <ac:chgData name="Pedro Lopes" userId="40e56e32-8db9-4762-81b5-b0f12e13e658" providerId="ADAL" clId="{A07982CB-E588-A949-A307-E7072B896221}" dt="2023-02-27T21:17:41.962" v="37" actId="1076"/>
          <ac:spMkLst>
            <pc:docMk/>
            <pc:sldMk cId="1848142922" sldId="2147376747"/>
            <ac:spMk id="10" creationId="{8964A63C-8974-071A-F424-94A2723C1933}"/>
          </ac:spMkLst>
        </pc:spChg>
        <pc:spChg chg="mod">
          <ac:chgData name="Pedro Lopes" userId="40e56e32-8db9-4762-81b5-b0f12e13e658" providerId="ADAL" clId="{A07982CB-E588-A949-A307-E7072B896221}" dt="2023-02-27T21:25:51.138" v="126" actId="1037"/>
          <ac:spMkLst>
            <pc:docMk/>
            <pc:sldMk cId="1848142922" sldId="2147376747"/>
            <ac:spMk id="11" creationId="{EBB4F0A4-1943-FC99-38DC-E1D9C6242FBB}"/>
          </ac:spMkLst>
        </pc:spChg>
        <pc:spChg chg="mod">
          <ac:chgData name="Pedro Lopes" userId="40e56e32-8db9-4762-81b5-b0f12e13e658" providerId="ADAL" clId="{A07982CB-E588-A949-A307-E7072B896221}" dt="2023-02-27T21:17:45.437" v="38" actId="1076"/>
          <ac:spMkLst>
            <pc:docMk/>
            <pc:sldMk cId="1848142922" sldId="2147376747"/>
            <ac:spMk id="12" creationId="{773373E6-DB0D-180C-7A44-B1E24C201472}"/>
          </ac:spMkLst>
        </pc:spChg>
        <pc:spChg chg="mod">
          <ac:chgData name="Pedro Lopes" userId="40e56e32-8db9-4762-81b5-b0f12e13e658" providerId="ADAL" clId="{A07982CB-E588-A949-A307-E7072B896221}" dt="2023-02-27T21:18:56.871" v="49" actId="1076"/>
          <ac:spMkLst>
            <pc:docMk/>
            <pc:sldMk cId="1848142922" sldId="2147376747"/>
            <ac:spMk id="13" creationId="{93A59C56-FE9C-7545-FF6F-CD3D61819E77}"/>
          </ac:spMkLst>
        </pc:spChg>
        <pc:spChg chg="mod">
          <ac:chgData name="Pedro Lopes" userId="40e56e32-8db9-4762-81b5-b0f12e13e658" providerId="ADAL" clId="{A07982CB-E588-A949-A307-E7072B896221}" dt="2023-02-27T21:17:21.487" v="16" actId="1076"/>
          <ac:spMkLst>
            <pc:docMk/>
            <pc:sldMk cId="1848142922" sldId="2147376747"/>
            <ac:spMk id="14" creationId="{B48583E8-9321-F267-A1F5-5308CA11FA89}"/>
          </ac:spMkLst>
        </pc:spChg>
        <pc:spChg chg="mod">
          <ac:chgData name="Pedro Lopes" userId="40e56e32-8db9-4762-81b5-b0f12e13e658" providerId="ADAL" clId="{A07982CB-E588-A949-A307-E7072B896221}" dt="2023-02-27T21:17:19.770" v="15" actId="1076"/>
          <ac:spMkLst>
            <pc:docMk/>
            <pc:sldMk cId="1848142922" sldId="2147376747"/>
            <ac:spMk id="15" creationId="{8BFF9898-BF8B-452E-5CB2-CF302AF302E9}"/>
          </ac:spMkLst>
        </pc:spChg>
        <pc:spChg chg="add mod">
          <ac:chgData name="Pedro Lopes" userId="40e56e32-8db9-4762-81b5-b0f12e13e658" providerId="ADAL" clId="{A07982CB-E588-A949-A307-E7072B896221}" dt="2023-02-27T21:35:47.561" v="221" actId="1076"/>
          <ac:spMkLst>
            <pc:docMk/>
            <pc:sldMk cId="1848142922" sldId="2147376747"/>
            <ac:spMk id="53" creationId="{382EF343-EF78-A4C9-2985-1A513C10E94B}"/>
          </ac:spMkLst>
        </pc:spChg>
        <pc:spChg chg="add mod">
          <ac:chgData name="Pedro Lopes" userId="40e56e32-8db9-4762-81b5-b0f12e13e658" providerId="ADAL" clId="{A07982CB-E588-A949-A307-E7072B896221}" dt="2023-02-28T14:07:40.266" v="501" actId="207"/>
          <ac:spMkLst>
            <pc:docMk/>
            <pc:sldMk cId="1848142922" sldId="2147376747"/>
            <ac:spMk id="63" creationId="{7429D234-3909-9F72-0A78-C0D58BC2E7FA}"/>
          </ac:spMkLst>
        </pc:spChg>
        <pc:grpChg chg="add mod topLvl">
          <ac:chgData name="Pedro Lopes" userId="40e56e32-8db9-4762-81b5-b0f12e13e658" providerId="ADAL" clId="{A07982CB-E588-A949-A307-E7072B896221}" dt="2023-02-28T14:09:24.912" v="509" actId="165"/>
          <ac:grpSpMkLst>
            <pc:docMk/>
            <pc:sldMk cId="1848142922" sldId="2147376747"/>
            <ac:grpSpMk id="3" creationId="{CEF5D523-50E1-43B7-6B33-4163EA320FFA}"/>
          </ac:grpSpMkLst>
        </pc:grpChg>
        <pc:grpChg chg="add">
          <ac:chgData name="Pedro Lopes" userId="40e56e32-8db9-4762-81b5-b0f12e13e658" providerId="ADAL" clId="{A07982CB-E588-A949-A307-E7072B896221}" dt="2023-02-27T21:35:57.309" v="222" actId="164"/>
          <ac:grpSpMkLst>
            <pc:docMk/>
            <pc:sldMk cId="1848142922" sldId="2147376747"/>
            <ac:grpSpMk id="54" creationId="{C72F5E29-2F2C-6B92-FCF3-3A781899ADCA}"/>
          </ac:grpSpMkLst>
        </pc:grpChg>
        <pc:grpChg chg="add">
          <ac:chgData name="Pedro Lopes" userId="40e56e32-8db9-4762-81b5-b0f12e13e658" providerId="ADAL" clId="{A07982CB-E588-A949-A307-E7072B896221}" dt="2023-02-27T21:36:07.610" v="223" actId="164"/>
          <ac:grpSpMkLst>
            <pc:docMk/>
            <pc:sldMk cId="1848142922" sldId="2147376747"/>
            <ac:grpSpMk id="55" creationId="{890D2BC6-EDBD-556A-2802-F828F3A30103}"/>
          </ac:grpSpMkLst>
        </pc:grpChg>
        <pc:grpChg chg="add">
          <ac:chgData name="Pedro Lopes" userId="40e56e32-8db9-4762-81b5-b0f12e13e658" providerId="ADAL" clId="{A07982CB-E588-A949-A307-E7072B896221}" dt="2023-02-27T21:36:10.618" v="224" actId="164"/>
          <ac:grpSpMkLst>
            <pc:docMk/>
            <pc:sldMk cId="1848142922" sldId="2147376747"/>
            <ac:grpSpMk id="56" creationId="{EAEEBB17-A998-128B-4442-6FE757A7F0C2}"/>
          </ac:grpSpMkLst>
        </pc:grpChg>
        <pc:grpChg chg="add mod">
          <ac:chgData name="Pedro Lopes" userId="40e56e32-8db9-4762-81b5-b0f12e13e658" providerId="ADAL" clId="{A07982CB-E588-A949-A307-E7072B896221}" dt="2023-02-27T21:58:49.748" v="324" actId="1035"/>
          <ac:grpSpMkLst>
            <pc:docMk/>
            <pc:sldMk cId="1848142922" sldId="2147376747"/>
            <ac:grpSpMk id="57" creationId="{152AD2B5-E149-16D2-6896-524EFEF6917A}"/>
          </ac:grpSpMkLst>
        </pc:grpChg>
        <pc:grpChg chg="add mod">
          <ac:chgData name="Pedro Lopes" userId="40e56e32-8db9-4762-81b5-b0f12e13e658" providerId="ADAL" clId="{A07982CB-E588-A949-A307-E7072B896221}" dt="2023-02-27T21:58:49.748" v="324" actId="1035"/>
          <ac:grpSpMkLst>
            <pc:docMk/>
            <pc:sldMk cId="1848142922" sldId="2147376747"/>
            <ac:grpSpMk id="58" creationId="{84F5869F-2A9B-1571-E5CA-C3F8A4AA0831}"/>
          </ac:grpSpMkLst>
        </pc:grpChg>
        <pc:grpChg chg="add mod">
          <ac:chgData name="Pedro Lopes" userId="40e56e32-8db9-4762-81b5-b0f12e13e658" providerId="ADAL" clId="{A07982CB-E588-A949-A307-E7072B896221}" dt="2023-02-27T21:58:49.748" v="324" actId="1035"/>
          <ac:grpSpMkLst>
            <pc:docMk/>
            <pc:sldMk cId="1848142922" sldId="2147376747"/>
            <ac:grpSpMk id="59" creationId="{3DEF0BA5-3E7F-3C2E-D66B-C9C730906081}"/>
          </ac:grpSpMkLst>
        </pc:grpChg>
        <pc:grpChg chg="add">
          <ac:chgData name="Pedro Lopes" userId="40e56e32-8db9-4762-81b5-b0f12e13e658" providerId="ADAL" clId="{A07982CB-E588-A949-A307-E7072B896221}" dt="2023-02-27T21:36:38.405" v="229" actId="164"/>
          <ac:grpSpMkLst>
            <pc:docMk/>
            <pc:sldMk cId="1848142922" sldId="2147376747"/>
            <ac:grpSpMk id="60" creationId="{2DD9618A-ED93-24E7-1B03-BECEA3F5A6CD}"/>
          </ac:grpSpMkLst>
        </pc:grpChg>
        <pc:grpChg chg="add mod">
          <ac:chgData name="Pedro Lopes" userId="40e56e32-8db9-4762-81b5-b0f12e13e658" providerId="ADAL" clId="{A07982CB-E588-A949-A307-E7072B896221}" dt="2023-02-27T21:58:49.748" v="324" actId="1035"/>
          <ac:grpSpMkLst>
            <pc:docMk/>
            <pc:sldMk cId="1848142922" sldId="2147376747"/>
            <ac:grpSpMk id="61" creationId="{98460CCE-183A-6043-EDC0-B9F384E4BB93}"/>
          </ac:grpSpMkLst>
        </pc:grpChg>
        <pc:grpChg chg="add del mod">
          <ac:chgData name="Pedro Lopes" userId="40e56e32-8db9-4762-81b5-b0f12e13e658" providerId="ADAL" clId="{A07982CB-E588-A949-A307-E7072B896221}" dt="2023-02-28T14:09:24.912" v="509" actId="165"/>
          <ac:grpSpMkLst>
            <pc:docMk/>
            <pc:sldMk cId="1848142922" sldId="2147376747"/>
            <ac:grpSpMk id="62" creationId="{0A4148BE-A750-E324-1585-402AA0059105}"/>
          </ac:grpSpMkLst>
        </pc:grpChg>
        <pc:grpChg chg="add">
          <ac:chgData name="Pedro Lopes" userId="40e56e32-8db9-4762-81b5-b0f12e13e658" providerId="ADAL" clId="{A07982CB-E588-A949-A307-E7072B896221}" dt="2023-02-28T14:09:35.939" v="511" actId="164"/>
          <ac:grpSpMkLst>
            <pc:docMk/>
            <pc:sldMk cId="1848142922" sldId="2147376747"/>
            <ac:grpSpMk id="66" creationId="{FD1F5198-7958-8381-8837-AFA36110ACF8}"/>
          </ac:grpSpMkLst>
        </pc:grpChg>
        <pc:picChg chg="add mod">
          <ac:chgData name="Pedro Lopes" userId="40e56e32-8db9-4762-81b5-b0f12e13e658" providerId="ADAL" clId="{A07982CB-E588-A949-A307-E7072B896221}" dt="2023-02-27T21:34:18.943" v="178" actId="14100"/>
          <ac:picMkLst>
            <pc:docMk/>
            <pc:sldMk cId="1848142922" sldId="2147376747"/>
            <ac:picMk id="25" creationId="{90C224CD-DC13-C128-67BC-12721DEE628F}"/>
          </ac:picMkLst>
        </pc:picChg>
        <pc:picChg chg="add mod">
          <ac:chgData name="Pedro Lopes" userId="40e56e32-8db9-4762-81b5-b0f12e13e658" providerId="ADAL" clId="{A07982CB-E588-A949-A307-E7072B896221}" dt="2023-02-27T21:34:37.161" v="198" actId="1038"/>
          <ac:picMkLst>
            <pc:docMk/>
            <pc:sldMk cId="1848142922" sldId="2147376747"/>
            <ac:picMk id="26" creationId="{ED2F85E8-168F-1A6F-68D6-5809A89D02AB}"/>
          </ac:picMkLst>
        </pc:picChg>
        <pc:picChg chg="add mod">
          <ac:chgData name="Pedro Lopes" userId="40e56e32-8db9-4762-81b5-b0f12e13e658" providerId="ADAL" clId="{A07982CB-E588-A949-A307-E7072B896221}" dt="2023-02-27T21:34:37.161" v="198" actId="1038"/>
          <ac:picMkLst>
            <pc:docMk/>
            <pc:sldMk cId="1848142922" sldId="2147376747"/>
            <ac:picMk id="27" creationId="{A63B32C9-BC70-F913-5496-574654D6A141}"/>
          </ac:picMkLst>
        </pc:picChg>
        <pc:picChg chg="add mod">
          <ac:chgData name="Pedro Lopes" userId="40e56e32-8db9-4762-81b5-b0f12e13e658" providerId="ADAL" clId="{A07982CB-E588-A949-A307-E7072B896221}" dt="2023-02-27T21:34:30.556" v="181" actId="1038"/>
          <ac:picMkLst>
            <pc:docMk/>
            <pc:sldMk cId="1848142922" sldId="2147376747"/>
            <ac:picMk id="28" creationId="{6F09F0EA-7C7E-B85F-8396-37EA4CA19CDA}"/>
          </ac:picMkLst>
        </pc:picChg>
        <pc:picChg chg="add mod">
          <ac:chgData name="Pedro Lopes" userId="40e56e32-8db9-4762-81b5-b0f12e13e658" providerId="ADAL" clId="{A07982CB-E588-A949-A307-E7072B896221}" dt="2023-02-27T21:27:34.749" v="174" actId="1076"/>
          <ac:picMkLst>
            <pc:docMk/>
            <pc:sldMk cId="1848142922" sldId="2147376747"/>
            <ac:picMk id="37" creationId="{F7FBC34B-D2A3-E6A4-2262-37D32B92BC7F}"/>
          </ac:picMkLst>
        </pc:picChg>
        <pc:picChg chg="add mod">
          <ac:chgData name="Pedro Lopes" userId="40e56e32-8db9-4762-81b5-b0f12e13e658" providerId="ADAL" clId="{A07982CB-E588-A949-A307-E7072B896221}" dt="2023-02-28T14:08:48.733" v="505" actId="1076"/>
          <ac:picMkLst>
            <pc:docMk/>
            <pc:sldMk cId="1848142922" sldId="2147376747"/>
            <ac:picMk id="64" creationId="{82EE15B2-BD82-656C-BE7A-74381E80A4F8}"/>
          </ac:picMkLst>
        </pc:picChg>
        <pc:picChg chg="add mod">
          <ac:chgData name="Pedro Lopes" userId="40e56e32-8db9-4762-81b5-b0f12e13e658" providerId="ADAL" clId="{A07982CB-E588-A949-A307-E7072B896221}" dt="2023-02-28T14:09:32.764" v="510" actId="1076"/>
          <ac:picMkLst>
            <pc:docMk/>
            <pc:sldMk cId="1848142922" sldId="2147376747"/>
            <ac:picMk id="65" creationId="{CBDB3CE0-BA91-ECAC-9081-2E86FAA284BA}"/>
          </ac:picMkLst>
        </pc:picChg>
        <pc:cxnChg chg="add mod">
          <ac:chgData name="Pedro Lopes" userId="40e56e32-8db9-4762-81b5-b0f12e13e658" providerId="ADAL" clId="{A07982CB-E588-A949-A307-E7072B896221}" dt="2023-02-27T21:36:36.362" v="228" actId="167"/>
          <ac:cxnSpMkLst>
            <pc:docMk/>
            <pc:sldMk cId="1848142922" sldId="2147376747"/>
            <ac:cxnSpMk id="17" creationId="{E18A582F-EF41-EC7E-8C3B-715FF75399AA}"/>
          </ac:cxnSpMkLst>
        </pc:cxnChg>
        <pc:cxnChg chg="add mod">
          <ac:chgData name="Pedro Lopes" userId="40e56e32-8db9-4762-81b5-b0f12e13e658" providerId="ADAL" clId="{A07982CB-E588-A949-A307-E7072B896221}" dt="2023-02-27T21:36:36.362" v="228" actId="167"/>
          <ac:cxnSpMkLst>
            <pc:docMk/>
            <pc:sldMk cId="1848142922" sldId="2147376747"/>
            <ac:cxnSpMk id="18" creationId="{47D05AE5-9F0A-5934-F23D-01E5BAE7429A}"/>
          </ac:cxnSpMkLst>
        </pc:cxnChg>
        <pc:cxnChg chg="add mod">
          <ac:chgData name="Pedro Lopes" userId="40e56e32-8db9-4762-81b5-b0f12e13e658" providerId="ADAL" clId="{A07982CB-E588-A949-A307-E7072B896221}" dt="2023-02-27T21:36:36.362" v="228" actId="167"/>
          <ac:cxnSpMkLst>
            <pc:docMk/>
            <pc:sldMk cId="1848142922" sldId="2147376747"/>
            <ac:cxnSpMk id="19" creationId="{DE929CF5-92AB-B648-9DAE-DCB6BFE53CD7}"/>
          </ac:cxnSpMkLst>
        </pc:cxnChg>
        <pc:cxnChg chg="add mod">
          <ac:chgData name="Pedro Lopes" userId="40e56e32-8db9-4762-81b5-b0f12e13e658" providerId="ADAL" clId="{A07982CB-E588-A949-A307-E7072B896221}" dt="2023-02-27T21:36:36.362" v="228" actId="167"/>
          <ac:cxnSpMkLst>
            <pc:docMk/>
            <pc:sldMk cId="1848142922" sldId="2147376747"/>
            <ac:cxnSpMk id="20" creationId="{35ED6A65-F719-992C-4364-402CAAB1EE03}"/>
          </ac:cxnSpMkLst>
        </pc:cxnChg>
        <pc:cxnChg chg="add mod">
          <ac:chgData name="Pedro Lopes" userId="40e56e32-8db9-4762-81b5-b0f12e13e658" providerId="ADAL" clId="{A07982CB-E588-A949-A307-E7072B896221}" dt="2023-02-27T21:21:46.868" v="62" actId="208"/>
          <ac:cxnSpMkLst>
            <pc:docMk/>
            <pc:sldMk cId="1848142922" sldId="2147376747"/>
            <ac:cxnSpMk id="22" creationId="{763D7658-A8FA-FF83-834B-C7F104ACC442}"/>
          </ac:cxnSpMkLst>
        </pc:cxnChg>
        <pc:cxnChg chg="add mod">
          <ac:chgData name="Pedro Lopes" userId="40e56e32-8db9-4762-81b5-b0f12e13e658" providerId="ADAL" clId="{A07982CB-E588-A949-A307-E7072B896221}" dt="2023-02-27T21:21:44.575" v="61" actId="208"/>
          <ac:cxnSpMkLst>
            <pc:docMk/>
            <pc:sldMk cId="1848142922" sldId="2147376747"/>
            <ac:cxnSpMk id="23" creationId="{26816D3C-E778-3B6F-421D-2623C3D50789}"/>
          </ac:cxnSpMkLst>
        </pc:cxnChg>
        <pc:cxnChg chg="add mod topLvl">
          <ac:chgData name="Pedro Lopes" userId="40e56e32-8db9-4762-81b5-b0f12e13e658" providerId="ADAL" clId="{A07982CB-E588-A949-A307-E7072B896221}" dt="2023-02-28T14:09:24.912" v="509" actId="165"/>
          <ac:cxnSpMkLst>
            <pc:docMk/>
            <pc:sldMk cId="1848142922" sldId="2147376747"/>
            <ac:cxnSpMk id="29" creationId="{2EE4598F-E36D-459B-D03B-A762A077777C}"/>
          </ac:cxnSpMkLst>
        </pc:cxnChg>
        <pc:cxnChg chg="add mod">
          <ac:chgData name="Pedro Lopes" userId="40e56e32-8db9-4762-81b5-b0f12e13e658" providerId="ADAL" clId="{A07982CB-E588-A949-A307-E7072B896221}" dt="2023-02-27T21:27:20.983" v="171" actId="14100"/>
          <ac:cxnSpMkLst>
            <pc:docMk/>
            <pc:sldMk cId="1848142922" sldId="2147376747"/>
            <ac:cxnSpMk id="42" creationId="{F1F2AD4C-1ED3-2F0E-6806-41CDF0B60D73}"/>
          </ac:cxnSpMkLst>
        </pc:cxnChg>
        <pc:cxnChg chg="add">
          <ac:chgData name="Pedro Lopes" userId="40e56e32-8db9-4762-81b5-b0f12e13e658" providerId="ADAL" clId="{A07982CB-E588-A949-A307-E7072B896221}" dt="2023-02-27T21:35:05.347" v="199" actId="11529"/>
          <ac:cxnSpMkLst>
            <pc:docMk/>
            <pc:sldMk cId="1848142922" sldId="2147376747"/>
            <ac:cxnSpMk id="47" creationId="{2C791BB7-F06E-2E70-F620-C497DAEA6DDC}"/>
          </ac:cxnSpMkLst>
        </pc:cxnChg>
        <pc:cxnChg chg="add">
          <ac:chgData name="Pedro Lopes" userId="40e56e32-8db9-4762-81b5-b0f12e13e658" providerId="ADAL" clId="{A07982CB-E588-A949-A307-E7072B896221}" dt="2023-02-27T21:35:15.662" v="200" actId="11529"/>
          <ac:cxnSpMkLst>
            <pc:docMk/>
            <pc:sldMk cId="1848142922" sldId="2147376747"/>
            <ac:cxnSpMk id="49" creationId="{51123AC5-6EB1-A81B-E922-1374A791069B}"/>
          </ac:cxnSpMkLst>
        </pc:cxnChg>
        <pc:cxnChg chg="add mod">
          <ac:chgData name="Pedro Lopes" userId="40e56e32-8db9-4762-81b5-b0f12e13e658" providerId="ADAL" clId="{A07982CB-E588-A949-A307-E7072B896221}" dt="2023-02-27T21:35:30.044" v="203" actId="14100"/>
          <ac:cxnSpMkLst>
            <pc:docMk/>
            <pc:sldMk cId="1848142922" sldId="2147376747"/>
            <ac:cxnSpMk id="50" creationId="{B4F7BDA9-DCD9-C934-B906-CECE7B7BED47}"/>
          </ac:cxnSpMkLst>
        </pc:cxnChg>
      </pc:sldChg>
      <pc:sldChg chg="addSp delSp modSp add mod modAnim">
        <pc:chgData name="Pedro Lopes" userId="40e56e32-8db9-4762-81b5-b0f12e13e658" providerId="ADAL" clId="{A07982CB-E588-A949-A307-E7072B896221}" dt="2023-02-28T14:13:39.104" v="525" actId="1076"/>
        <pc:sldMkLst>
          <pc:docMk/>
          <pc:sldMk cId="782010024" sldId="2147376748"/>
        </pc:sldMkLst>
        <pc:spChg chg="del mod">
          <ac:chgData name="Pedro Lopes" userId="40e56e32-8db9-4762-81b5-b0f12e13e658" providerId="ADAL" clId="{A07982CB-E588-A949-A307-E7072B896221}" dt="2023-02-27T21:58:40.728" v="318" actId="478"/>
          <ac:spMkLst>
            <pc:docMk/>
            <pc:sldMk cId="782010024" sldId="2147376748"/>
            <ac:spMk id="2" creationId="{19ABA028-C0E1-1791-57DD-DCA157C22DD6}"/>
          </ac:spMkLst>
        </pc:spChg>
        <pc:spChg chg="mod">
          <ac:chgData name="Pedro Lopes" userId="40e56e32-8db9-4762-81b5-b0f12e13e658" providerId="ADAL" clId="{A07982CB-E588-A949-A307-E7072B896221}" dt="2023-02-27T21:58:38.481" v="317" actId="404"/>
          <ac:spMkLst>
            <pc:docMk/>
            <pc:sldMk cId="782010024" sldId="2147376748"/>
            <ac:spMk id="5" creationId="{01A98163-F195-329F-FE2B-EDF1F099547A}"/>
          </ac:spMkLst>
        </pc:spChg>
        <pc:spChg chg="del mod">
          <ac:chgData name="Pedro Lopes" userId="40e56e32-8db9-4762-81b5-b0f12e13e658" providerId="ADAL" clId="{A07982CB-E588-A949-A307-E7072B896221}" dt="2023-02-27T21:59:12.102" v="329" actId="478"/>
          <ac:spMkLst>
            <pc:docMk/>
            <pc:sldMk cId="782010024" sldId="2147376748"/>
            <ac:spMk id="6" creationId="{BC23DE18-ED7F-2D91-BDC8-92EF3DFEDD82}"/>
          </ac:spMkLst>
        </pc:spChg>
        <pc:spChg chg="add mod">
          <ac:chgData name="Pedro Lopes" userId="40e56e32-8db9-4762-81b5-b0f12e13e658" providerId="ADAL" clId="{A07982CB-E588-A949-A307-E7072B896221}" dt="2023-02-27T21:59:14.368" v="331" actId="1076"/>
          <ac:spMkLst>
            <pc:docMk/>
            <pc:sldMk cId="782010024" sldId="2147376748"/>
            <ac:spMk id="24" creationId="{831C1CAC-CAEC-7335-44F3-28DA4FB5F4BF}"/>
          </ac:spMkLst>
        </pc:spChg>
        <pc:spChg chg="add del mod">
          <ac:chgData name="Pedro Lopes" userId="40e56e32-8db9-4762-81b5-b0f12e13e658" providerId="ADAL" clId="{A07982CB-E588-A949-A307-E7072B896221}" dt="2023-02-27T21:59:42.707" v="353" actId="478"/>
          <ac:spMkLst>
            <pc:docMk/>
            <pc:sldMk cId="782010024" sldId="2147376748"/>
            <ac:spMk id="30" creationId="{C093E87C-F2CE-E8F2-802A-81F2D27080CE}"/>
          </ac:spMkLst>
        </pc:spChg>
        <pc:spChg chg="add mod">
          <ac:chgData name="Pedro Lopes" userId="40e56e32-8db9-4762-81b5-b0f12e13e658" providerId="ADAL" clId="{A07982CB-E588-A949-A307-E7072B896221}" dt="2023-02-27T22:00:38.612" v="398" actId="1076"/>
          <ac:spMkLst>
            <pc:docMk/>
            <pc:sldMk cId="782010024" sldId="2147376748"/>
            <ac:spMk id="31" creationId="{308AE3C0-D395-BB0D-1A7C-46CCE90837D3}"/>
          </ac:spMkLst>
        </pc:spChg>
        <pc:spChg chg="add mod">
          <ac:chgData name="Pedro Lopes" userId="40e56e32-8db9-4762-81b5-b0f12e13e658" providerId="ADAL" clId="{A07982CB-E588-A949-A307-E7072B896221}" dt="2023-02-27T22:00:32.866" v="396" actId="1076"/>
          <ac:spMkLst>
            <pc:docMk/>
            <pc:sldMk cId="782010024" sldId="2147376748"/>
            <ac:spMk id="32" creationId="{2BF9FC82-9405-CEF5-8EE7-6048F9C412AF}"/>
          </ac:spMkLst>
        </pc:spChg>
        <pc:spChg chg="add del mod">
          <ac:chgData name="Pedro Lopes" userId="40e56e32-8db9-4762-81b5-b0f12e13e658" providerId="ADAL" clId="{A07982CB-E588-A949-A307-E7072B896221}" dt="2023-02-27T22:01:34.732" v="406"/>
          <ac:spMkLst>
            <pc:docMk/>
            <pc:sldMk cId="782010024" sldId="2147376748"/>
            <ac:spMk id="44" creationId="{7A1AA8B9-29D9-07C7-E82C-CC7AAD1D3E7F}"/>
          </ac:spMkLst>
        </pc:spChg>
        <pc:grpChg chg="del">
          <ac:chgData name="Pedro Lopes" userId="40e56e32-8db9-4762-81b5-b0f12e13e658" providerId="ADAL" clId="{A07982CB-E588-A949-A307-E7072B896221}" dt="2023-02-27T21:37:38.860" v="254" actId="478"/>
          <ac:grpSpMkLst>
            <pc:docMk/>
            <pc:sldMk cId="782010024" sldId="2147376748"/>
            <ac:grpSpMk id="3" creationId="{CEF5D523-50E1-43B7-6B33-4163EA320FFA}"/>
          </ac:grpSpMkLst>
        </pc:grpChg>
        <pc:grpChg chg="add">
          <ac:chgData name="Pedro Lopes" userId="40e56e32-8db9-4762-81b5-b0f12e13e658" providerId="ADAL" clId="{A07982CB-E588-A949-A307-E7072B896221}" dt="2023-02-27T22:06:50.687" v="415" actId="164"/>
          <ac:grpSpMkLst>
            <pc:docMk/>
            <pc:sldMk cId="782010024" sldId="2147376748"/>
            <ac:grpSpMk id="51" creationId="{BDBF0864-B1ED-A0E6-FBDB-0B330CDD94F4}"/>
          </ac:grpSpMkLst>
        </pc:grpChg>
        <pc:grpChg chg="add">
          <ac:chgData name="Pedro Lopes" userId="40e56e32-8db9-4762-81b5-b0f12e13e658" providerId="ADAL" clId="{A07982CB-E588-A949-A307-E7072B896221}" dt="2023-02-27T22:06:57.857" v="417" actId="164"/>
          <ac:grpSpMkLst>
            <pc:docMk/>
            <pc:sldMk cId="782010024" sldId="2147376748"/>
            <ac:grpSpMk id="52" creationId="{1722E761-5F9C-637D-DC55-5CB974B72DD0}"/>
          </ac:grpSpMkLst>
        </pc:grpChg>
        <pc:grpChg chg="del">
          <ac:chgData name="Pedro Lopes" userId="40e56e32-8db9-4762-81b5-b0f12e13e658" providerId="ADAL" clId="{A07982CB-E588-A949-A307-E7072B896221}" dt="2023-02-27T21:37:46.377" v="257" actId="478"/>
          <ac:grpSpMkLst>
            <pc:docMk/>
            <pc:sldMk cId="782010024" sldId="2147376748"/>
            <ac:grpSpMk id="57" creationId="{152AD2B5-E149-16D2-6896-524EFEF6917A}"/>
          </ac:grpSpMkLst>
        </pc:grpChg>
        <pc:grpChg chg="del">
          <ac:chgData name="Pedro Lopes" userId="40e56e32-8db9-4762-81b5-b0f12e13e658" providerId="ADAL" clId="{A07982CB-E588-A949-A307-E7072B896221}" dt="2023-02-27T21:37:44.982" v="256" actId="478"/>
          <ac:grpSpMkLst>
            <pc:docMk/>
            <pc:sldMk cId="782010024" sldId="2147376748"/>
            <ac:grpSpMk id="58" creationId="{84F5869F-2A9B-1571-E5CA-C3F8A4AA0831}"/>
          </ac:grpSpMkLst>
        </pc:grpChg>
        <pc:grpChg chg="del">
          <ac:chgData name="Pedro Lopes" userId="40e56e32-8db9-4762-81b5-b0f12e13e658" providerId="ADAL" clId="{A07982CB-E588-A949-A307-E7072B896221}" dt="2023-02-27T21:37:36.858" v="253" actId="478"/>
          <ac:grpSpMkLst>
            <pc:docMk/>
            <pc:sldMk cId="782010024" sldId="2147376748"/>
            <ac:grpSpMk id="59" creationId="{3DEF0BA5-3E7F-3C2E-D66B-C9C730906081}"/>
          </ac:grpSpMkLst>
        </pc:grpChg>
        <pc:grpChg chg="del">
          <ac:chgData name="Pedro Lopes" userId="40e56e32-8db9-4762-81b5-b0f12e13e658" providerId="ADAL" clId="{A07982CB-E588-A949-A307-E7072B896221}" dt="2023-02-27T21:37:36.858" v="253" actId="478"/>
          <ac:grpSpMkLst>
            <pc:docMk/>
            <pc:sldMk cId="782010024" sldId="2147376748"/>
            <ac:grpSpMk id="61" creationId="{98460CCE-183A-6043-EDC0-B9F384E4BB93}"/>
          </ac:grpSpMkLst>
        </pc:grpChg>
        <pc:picChg chg="add del mod modCrop">
          <ac:chgData name="Pedro Lopes" userId="40e56e32-8db9-4762-81b5-b0f12e13e658" providerId="ADAL" clId="{A07982CB-E588-A949-A307-E7072B896221}" dt="2023-02-28T14:12:53.712" v="517" actId="478"/>
          <ac:picMkLst>
            <pc:docMk/>
            <pc:sldMk cId="782010024" sldId="2147376748"/>
            <ac:picMk id="21" creationId="{7FA7C006-3819-A49E-A274-20D11B6C37D7}"/>
          </ac:picMkLst>
        </pc:picChg>
        <pc:picChg chg="add mod">
          <ac:chgData name="Pedro Lopes" userId="40e56e32-8db9-4762-81b5-b0f12e13e658" providerId="ADAL" clId="{A07982CB-E588-A949-A307-E7072B896221}" dt="2023-02-28T14:13:39.104" v="525" actId="1076"/>
          <ac:picMkLst>
            <pc:docMk/>
            <pc:sldMk cId="782010024" sldId="2147376748"/>
            <ac:picMk id="45" creationId="{3BA85B54-C4B5-0C95-41D8-0DDA1D5BD56E}"/>
          </ac:picMkLst>
        </pc:picChg>
        <pc:picChg chg="add mod">
          <ac:chgData name="Pedro Lopes" userId="40e56e32-8db9-4762-81b5-b0f12e13e658" providerId="ADAL" clId="{A07982CB-E588-A949-A307-E7072B896221}" dt="2023-02-28T14:13:23.363" v="523" actId="688"/>
          <ac:picMkLst>
            <pc:docMk/>
            <pc:sldMk cId="782010024" sldId="2147376748"/>
            <ac:picMk id="46" creationId="{1C9218E7-FBEF-4C69-39C0-1BE0028FDD1F}"/>
          </ac:picMkLst>
        </pc:picChg>
        <pc:picChg chg="add mod">
          <ac:chgData name="Pedro Lopes" userId="40e56e32-8db9-4762-81b5-b0f12e13e658" providerId="ADAL" clId="{A07982CB-E588-A949-A307-E7072B896221}" dt="2023-02-27T22:06:33.344" v="414" actId="14100"/>
          <ac:picMkLst>
            <pc:docMk/>
            <pc:sldMk cId="782010024" sldId="2147376748"/>
            <ac:picMk id="48" creationId="{E98CBE4E-4692-4781-D9FD-2545DB27E986}"/>
          </ac:picMkLst>
        </pc:picChg>
        <pc:picChg chg="add mod modCrop">
          <ac:chgData name="Pedro Lopes" userId="40e56e32-8db9-4762-81b5-b0f12e13e658" providerId="ADAL" clId="{A07982CB-E588-A949-A307-E7072B896221}" dt="2023-02-28T14:13:15.512" v="522" actId="1076"/>
          <ac:picMkLst>
            <pc:docMk/>
            <pc:sldMk cId="782010024" sldId="2147376748"/>
            <ac:picMk id="63" creationId="{FDAC8112-94CD-03C7-4099-9C0A9AB1EF5E}"/>
          </ac:picMkLst>
        </pc:picChg>
        <pc:cxnChg chg="del mod">
          <ac:chgData name="Pedro Lopes" userId="40e56e32-8db9-4762-81b5-b0f12e13e658" providerId="ADAL" clId="{A07982CB-E588-A949-A307-E7072B896221}" dt="2023-02-27T21:37:42.360" v="255" actId="478"/>
          <ac:cxnSpMkLst>
            <pc:docMk/>
            <pc:sldMk cId="782010024" sldId="2147376748"/>
            <ac:cxnSpMk id="29" creationId="{2EE4598F-E36D-459B-D03B-A762A077777C}"/>
          </ac:cxnSpMkLst>
        </pc:cxnChg>
        <pc:cxnChg chg="add mod">
          <ac:chgData name="Pedro Lopes" userId="40e56e32-8db9-4762-81b5-b0f12e13e658" providerId="ADAL" clId="{A07982CB-E588-A949-A307-E7072B896221}" dt="2023-02-27T22:00:35.682" v="397" actId="14100"/>
          <ac:cxnSpMkLst>
            <pc:docMk/>
            <pc:sldMk cId="782010024" sldId="2147376748"/>
            <ac:cxnSpMk id="34" creationId="{EACC9E18-59DA-1CDC-6A73-3EAB47C7731A}"/>
          </ac:cxnSpMkLst>
        </pc:cxnChg>
        <pc:cxnChg chg="add">
          <ac:chgData name="Pedro Lopes" userId="40e56e32-8db9-4762-81b5-b0f12e13e658" providerId="ADAL" clId="{A07982CB-E588-A949-A307-E7072B896221}" dt="2023-02-27T22:00:45.684" v="399" actId="11529"/>
          <ac:cxnSpMkLst>
            <pc:docMk/>
            <pc:sldMk cId="782010024" sldId="2147376748"/>
            <ac:cxnSpMk id="38" creationId="{51A4ACA9-C38D-0604-6F67-24396F7CE286}"/>
          </ac:cxnSpMkLst>
        </pc:cxnChg>
        <pc:cxnChg chg="add mod">
          <ac:chgData name="Pedro Lopes" userId="40e56e32-8db9-4762-81b5-b0f12e13e658" providerId="ADAL" clId="{A07982CB-E588-A949-A307-E7072B896221}" dt="2023-02-27T22:01:01.265" v="403" actId="14100"/>
          <ac:cxnSpMkLst>
            <pc:docMk/>
            <pc:sldMk cId="782010024" sldId="2147376748"/>
            <ac:cxnSpMk id="39" creationId="{9E167945-040B-03E9-8556-601F2686B69D}"/>
          </ac:cxnSpMkLst>
        </pc:cxnChg>
      </pc:sldChg>
      <pc:sldChg chg="addSp modSp add mod modAnim">
        <pc:chgData name="Pedro Lopes" userId="40e56e32-8db9-4762-81b5-b0f12e13e658" providerId="ADAL" clId="{A07982CB-E588-A949-A307-E7072B896221}" dt="2023-02-28T14:03:07.564" v="462"/>
        <pc:sldMkLst>
          <pc:docMk/>
          <pc:sldMk cId="2343551199" sldId="2147376749"/>
        </pc:sldMkLst>
        <pc:cxnChg chg="add mod">
          <ac:chgData name="Pedro Lopes" userId="40e56e32-8db9-4762-81b5-b0f12e13e658" providerId="ADAL" clId="{A07982CB-E588-A949-A307-E7072B896221}" dt="2023-02-28T14:02:53.723" v="452" actId="1076"/>
          <ac:cxnSpMkLst>
            <pc:docMk/>
            <pc:sldMk cId="2343551199" sldId="2147376749"/>
            <ac:cxnSpMk id="2" creationId="{8F36996D-BD54-460C-4401-21F786A16F53}"/>
          </ac:cxnSpMkLst>
        </pc:cxnChg>
      </pc:sldChg>
    </pc:docChg>
  </pc:docChgLst>
  <pc:docChgLst>
    <pc:chgData name="Shengtao Wang" userId="S::swang@quera.com::aa26e7d5-efc2-4234-bf59-aee2d70ba931" providerId="AD" clId="Web-{A10BD988-CB9F-186C-A910-CF126F25CD81}"/>
    <pc:docChg chg="mod">
      <pc:chgData name="Shengtao Wang" userId="S::swang@quera.com::aa26e7d5-efc2-4234-bf59-aee2d70ba931" providerId="AD" clId="Web-{A10BD988-CB9F-186C-A910-CF126F25CD81}" dt="2023-03-30T19:04:10.585" v="2"/>
      <pc:docMkLst>
        <pc:docMk/>
      </pc:docMkLst>
      <pc:sldChg chg="addCm">
        <pc:chgData name="Shengtao Wang" userId="S::swang@quera.com::aa26e7d5-efc2-4234-bf59-aee2d70ba931" providerId="AD" clId="Web-{A10BD988-CB9F-186C-A910-CF126F25CD81}" dt="2023-03-30T19:00:51.484" v="1"/>
        <pc:sldMkLst>
          <pc:docMk/>
          <pc:sldMk cId="747835074" sldId="214737662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Shengtao Wang" userId="S::swang@quera.com::aa26e7d5-efc2-4234-bf59-aee2d70ba931" providerId="AD" clId="Web-{A10BD988-CB9F-186C-A910-CF126F25CD81}" dt="2023-03-30T19:00:51.484" v="1"/>
              <pc2:cmMkLst xmlns:pc2="http://schemas.microsoft.com/office/powerpoint/2019/9/main/command">
                <pc:docMk/>
                <pc:sldMk cId="747835074" sldId="2147376629"/>
                <pc2:cmMk id="{27890633-3BE4-4399-BA76-C8D1999521C8}"/>
              </pc2:cmMkLst>
            </pc226:cmChg>
          </p:ext>
        </pc:extLst>
      </pc:sldChg>
      <pc:sldChg chg="addCm">
        <pc:chgData name="Shengtao Wang" userId="S::swang@quera.com::aa26e7d5-efc2-4234-bf59-aee2d70ba931" providerId="AD" clId="Web-{A10BD988-CB9F-186C-A910-CF126F25CD81}" dt="2023-03-30T19:04:10.585" v="2"/>
        <pc:sldMkLst>
          <pc:docMk/>
          <pc:sldMk cId="2462203731" sldId="214737674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Shengtao Wang" userId="S::swang@quera.com::aa26e7d5-efc2-4234-bf59-aee2d70ba931" providerId="AD" clId="Web-{A10BD988-CB9F-186C-A910-CF126F25CD81}" dt="2023-03-30T19:04:10.585" v="2"/>
              <pc2:cmMkLst xmlns:pc2="http://schemas.microsoft.com/office/powerpoint/2019/9/main/command">
                <pc:docMk/>
                <pc:sldMk cId="2462203731" sldId="2147376749"/>
                <pc2:cmMk id="{C047299F-BCBB-4B82-8A0A-E7471FDFC198}"/>
              </pc2:cmMkLst>
            </pc226:cmChg>
          </p:ext>
        </pc:ext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1FA6463-4397-3C70-E9A7-36E7ABC993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112570-35FA-FDD3-464F-4F873AF7AE3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8F56C6-70E4-4342-ABF2-BA7C5E22E442}" type="datetimeFigureOut">
              <a:rPr lang="en-IL" smtClean="0"/>
              <a:t>1/23/24</a:t>
            </a:fld>
            <a:endParaRPr lang="en-I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FC1B81B-2202-8A23-AD23-7003C0A5B42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451E6D-C2C8-DED6-5017-2D214BDD5FE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77D2D3-1748-6C4A-A6A1-623F83898E37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13569529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7CCF16-7B30-4BA1-BCDA-486981C8A556}" type="datetimeFigureOut">
              <a:rPr lang="en-GB" smtClean="0"/>
              <a:t>23/01/2024</a:t>
            </a:fld>
            <a:endParaRPr lang="en-GB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0F960F-8CCF-4197-9ED4-C1D07FC211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52130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build the processor at each shot.</a:t>
            </a:r>
          </a:p>
          <a:p>
            <a:endParaRPr lang="en-US" dirty="0"/>
          </a:p>
          <a:p>
            <a:r>
              <a:rPr lang="en-US" dirty="0"/>
              <a:t>Large dynamic range of time: 100s of </a:t>
            </a:r>
            <a:r>
              <a:rPr lang="en-US" dirty="0" err="1"/>
              <a:t>ms</a:t>
            </a:r>
            <a:r>
              <a:rPr lang="en-US" dirty="0"/>
              <a:t> duration for QPU cycle and calibrations, to 10s of </a:t>
            </a:r>
            <a:r>
              <a:rPr lang="en-US" dirty="0" err="1"/>
              <a:t>ms</a:t>
            </a:r>
            <a:r>
              <a:rPr lang="en-US" dirty="0"/>
              <a:t> duration prep step, to 0.1-20us Hamiltonian control  analog waveforms with 10ns timing precision.</a:t>
            </a:r>
          </a:p>
          <a:p>
            <a:endParaRPr lang="en-US" dirty="0"/>
          </a:p>
          <a:p>
            <a:r>
              <a:rPr lang="en-US" dirty="0"/>
              <a:t>Crossover from </a:t>
            </a:r>
            <a:r>
              <a:rPr lang="en-US" dirty="0" err="1"/>
              <a:t>ms</a:t>
            </a:r>
            <a:r>
              <a:rPr lang="en-US" dirty="0"/>
              <a:t> to n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F960F-8CCF-4197-9ED4-C1D07FC211D2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88481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large text" preserve="1">
  <p:cSld name="1_Title slide large text"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6" name="Google Shape;196;p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7" name="Google Shape;197;p28"/>
          <p:cNvSpPr txBox="1">
            <a:spLocks noGrp="1"/>
          </p:cNvSpPr>
          <p:nvPr>
            <p:ph type="title"/>
          </p:nvPr>
        </p:nvSpPr>
        <p:spPr>
          <a:xfrm>
            <a:off x="1244599" y="1856163"/>
            <a:ext cx="10203329" cy="25280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200"/>
              <a:buFont typeface="Inter ExtraBold"/>
              <a:buNone/>
              <a:defRPr sz="75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200"/>
              <a:buFont typeface="Inter ExtraBold"/>
              <a:buNone/>
            </a:pPr>
            <a:endParaRPr dirty="0"/>
          </a:p>
        </p:txBody>
      </p:sp>
      <p:sp>
        <p:nvSpPr>
          <p:cNvPr id="198" name="Google Shape;198;p28"/>
          <p:cNvSpPr txBox="1">
            <a:spLocks noGrp="1"/>
          </p:cNvSpPr>
          <p:nvPr>
            <p:ph type="body" idx="1"/>
          </p:nvPr>
        </p:nvSpPr>
        <p:spPr>
          <a:xfrm>
            <a:off x="1244599" y="4746391"/>
            <a:ext cx="4631533" cy="7667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800"/>
              <a:buNone/>
              <a:defRPr sz="2400" b="0" i="0">
                <a:solidFill>
                  <a:srgbClr val="333333"/>
                </a:solidFill>
                <a:latin typeface="Radion B" panose="020B0502030000000004" pitchFamily="34" charset="0"/>
              </a:defRPr>
            </a:lvl1pPr>
            <a:lvl2pPr marL="1219170" lvl="1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 sz="1200"/>
            </a:lvl2pPr>
            <a:lvl3pPr marL="1828754" lvl="2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 sz="1067"/>
            </a:lvl3pPr>
            <a:lvl4pPr marL="2438339" lvl="3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 sz="1333"/>
            </a:lvl4pPr>
            <a:lvl5pPr marL="3047924" lvl="4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 sz="1333"/>
            </a:lvl5pPr>
            <a:lvl6pPr marL="3657509" lvl="5" indent="-40639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 sz="1333"/>
            </a:lvl6pPr>
            <a:lvl7pPr marL="4267093" lvl="6" indent="-40639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 sz="1200"/>
            </a:lvl7pPr>
            <a:lvl8pPr marL="4876678" lvl="7" indent="-40639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 sz="1067"/>
            </a:lvl8pPr>
            <a:lvl9pPr marL="5486263" lvl="8" indent="-40639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 sz="933"/>
            </a:lvl9pPr>
          </a:lstStyle>
          <a:p>
            <a:pPr marL="609585" marR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800"/>
              <a:buFont typeface="Arial" panose="020B0604020202020204" pitchFamily="34" charset="0"/>
              <a:buNone/>
            </a:pPr>
            <a:endParaRPr dirty="0"/>
          </a:p>
        </p:txBody>
      </p:sp>
      <p:pic>
        <p:nvPicPr>
          <p:cNvPr id="200" name="Google Shape;200;p2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11718" y="524800"/>
            <a:ext cx="2337389" cy="4291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393130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large + object" preserve="1" userDrawn="1">
  <p:cSld name="11_Title large + object"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7" name="Google Shape;277;p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78" name="Google Shape;278;p36"/>
          <p:cNvSpPr>
            <a:spLocks noGrp="1"/>
          </p:cNvSpPr>
          <p:nvPr>
            <p:ph type="body" idx="1"/>
          </p:nvPr>
        </p:nvSpPr>
        <p:spPr>
          <a:xfrm>
            <a:off x="747680" y="2070101"/>
            <a:ext cx="2377440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81" name="Google Shape;281;p36"/>
          <p:cNvSpPr txBox="1">
            <a:spLocks noGrp="1"/>
          </p:cNvSpPr>
          <p:nvPr>
            <p:ph type="body" idx="2"/>
          </p:nvPr>
        </p:nvSpPr>
        <p:spPr>
          <a:xfrm>
            <a:off x="1066097" y="2870201"/>
            <a:ext cx="1778419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0" i="0">
                <a:solidFill>
                  <a:srgbClr val="6437FF"/>
                </a:solidFill>
                <a:latin typeface="Radion B Book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82" name="Google Shape;282;p36"/>
          <p:cNvSpPr txBox="1">
            <a:spLocks noGrp="1"/>
          </p:cNvSpPr>
          <p:nvPr>
            <p:ph type="body" idx="3"/>
          </p:nvPr>
        </p:nvSpPr>
        <p:spPr>
          <a:xfrm>
            <a:off x="1003913" y="4178301"/>
            <a:ext cx="1884367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83" name="Google Shape;283;p36"/>
          <p:cNvSpPr>
            <a:spLocks noGrp="1"/>
          </p:cNvSpPr>
          <p:nvPr>
            <p:ph type="pic" idx="4"/>
          </p:nvPr>
        </p:nvSpPr>
        <p:spPr>
          <a:xfrm>
            <a:off x="1345987" y="1568451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sp>
        <p:nvSpPr>
          <p:cNvPr id="284" name="Google Shape;284;p36"/>
          <p:cNvSpPr>
            <a:spLocks noGrp="1"/>
          </p:cNvSpPr>
          <p:nvPr>
            <p:ph type="body" idx="5"/>
          </p:nvPr>
        </p:nvSpPr>
        <p:spPr>
          <a:xfrm>
            <a:off x="3402596" y="2070101"/>
            <a:ext cx="2377440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85" name="Google Shape;285;p36"/>
          <p:cNvSpPr txBox="1">
            <a:spLocks noGrp="1"/>
          </p:cNvSpPr>
          <p:nvPr>
            <p:ph type="body" idx="6"/>
          </p:nvPr>
        </p:nvSpPr>
        <p:spPr>
          <a:xfrm>
            <a:off x="3721013" y="2870201"/>
            <a:ext cx="1778419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0" i="0">
                <a:solidFill>
                  <a:srgbClr val="6437FF"/>
                </a:solidFill>
                <a:latin typeface="Radion B Book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86" name="Google Shape;286;p36"/>
          <p:cNvSpPr txBox="1">
            <a:spLocks noGrp="1"/>
          </p:cNvSpPr>
          <p:nvPr>
            <p:ph type="body" idx="7"/>
          </p:nvPr>
        </p:nvSpPr>
        <p:spPr>
          <a:xfrm>
            <a:off x="3658829" y="4178301"/>
            <a:ext cx="1884367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-423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87" name="Google Shape;287;p36"/>
          <p:cNvSpPr>
            <a:spLocks noGrp="1"/>
          </p:cNvSpPr>
          <p:nvPr>
            <p:ph type="pic" idx="8"/>
          </p:nvPr>
        </p:nvSpPr>
        <p:spPr>
          <a:xfrm>
            <a:off x="4000903" y="1568451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sp>
        <p:nvSpPr>
          <p:cNvPr id="289" name="Google Shape;289;p36"/>
          <p:cNvSpPr>
            <a:spLocks noGrp="1"/>
          </p:cNvSpPr>
          <p:nvPr>
            <p:ph type="body" idx="9"/>
          </p:nvPr>
        </p:nvSpPr>
        <p:spPr>
          <a:xfrm>
            <a:off x="6057512" y="2077978"/>
            <a:ext cx="2377440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90" name="Google Shape;290;p36"/>
          <p:cNvSpPr txBox="1">
            <a:spLocks noGrp="1"/>
          </p:cNvSpPr>
          <p:nvPr>
            <p:ph type="body" idx="13"/>
          </p:nvPr>
        </p:nvSpPr>
        <p:spPr>
          <a:xfrm>
            <a:off x="6375929" y="2878078"/>
            <a:ext cx="1778419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-423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0" i="0">
                <a:solidFill>
                  <a:srgbClr val="6437FF"/>
                </a:solidFill>
                <a:latin typeface="Radion B Book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91" name="Google Shape;291;p36"/>
          <p:cNvSpPr txBox="1">
            <a:spLocks noGrp="1"/>
          </p:cNvSpPr>
          <p:nvPr>
            <p:ph type="body" idx="14"/>
          </p:nvPr>
        </p:nvSpPr>
        <p:spPr>
          <a:xfrm>
            <a:off x="6313744" y="4186178"/>
            <a:ext cx="1884365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92" name="Google Shape;292;p36"/>
          <p:cNvSpPr>
            <a:spLocks noGrp="1"/>
          </p:cNvSpPr>
          <p:nvPr>
            <p:ph type="pic" idx="15"/>
          </p:nvPr>
        </p:nvSpPr>
        <p:spPr>
          <a:xfrm>
            <a:off x="6655817" y="1576327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sp>
        <p:nvSpPr>
          <p:cNvPr id="293" name="Google Shape;293;p36"/>
          <p:cNvSpPr>
            <a:spLocks noGrp="1"/>
          </p:cNvSpPr>
          <p:nvPr>
            <p:ph type="body" idx="16"/>
          </p:nvPr>
        </p:nvSpPr>
        <p:spPr>
          <a:xfrm>
            <a:off x="8712428" y="2081515"/>
            <a:ext cx="2377440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94" name="Google Shape;294;p36"/>
          <p:cNvSpPr txBox="1">
            <a:spLocks noGrp="1"/>
          </p:cNvSpPr>
          <p:nvPr>
            <p:ph type="body" idx="17"/>
          </p:nvPr>
        </p:nvSpPr>
        <p:spPr>
          <a:xfrm>
            <a:off x="9030845" y="2881615"/>
            <a:ext cx="1778419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0" i="0">
                <a:solidFill>
                  <a:srgbClr val="6437FF"/>
                </a:solidFill>
                <a:latin typeface="Radion B Book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95" name="Google Shape;295;p36"/>
          <p:cNvSpPr txBox="1">
            <a:spLocks noGrp="1"/>
          </p:cNvSpPr>
          <p:nvPr>
            <p:ph type="body" idx="18"/>
          </p:nvPr>
        </p:nvSpPr>
        <p:spPr>
          <a:xfrm>
            <a:off x="8968660" y="4189714"/>
            <a:ext cx="1884365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96" name="Google Shape;296;p36"/>
          <p:cNvSpPr>
            <a:spLocks noGrp="1"/>
          </p:cNvSpPr>
          <p:nvPr>
            <p:ph type="pic" idx="19"/>
          </p:nvPr>
        </p:nvSpPr>
        <p:spPr>
          <a:xfrm>
            <a:off x="9310735" y="1579864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pic>
        <p:nvPicPr>
          <p:cNvPr id="297" name="Google Shape;297;p3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93;p27">
            <a:extLst>
              <a:ext uri="{FF2B5EF4-FFF2-40B4-BE49-F238E27FC236}">
                <a16:creationId xmlns:a16="http://schemas.microsoft.com/office/drawing/2014/main" id="{5F9A7ED6-3D14-4299-1021-54DA15C0E47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chemeClr val="bg2"/>
                </a:solidFill>
                <a:latin typeface="Inter"/>
                <a:ea typeface="Inter"/>
                <a:cs typeface="Inter"/>
                <a:sym typeface="Inter"/>
              </a:defRPr>
            </a:lvl1pPr>
            <a:lvl2pPr marL="0" marR="0" lvl="1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L="0" marR="0" lvl="2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L="0" marR="0" lvl="3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L="0" marR="0" lvl="4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L="0" marR="0" lvl="5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L="0" marR="0" lvl="6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L="0" marR="0" lvl="7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L="0" marR="0" lvl="8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cxnSp>
        <p:nvCxnSpPr>
          <p:cNvPr id="6" name="Google Shape;314;p38">
            <a:extLst>
              <a:ext uri="{FF2B5EF4-FFF2-40B4-BE49-F238E27FC236}">
                <a16:creationId xmlns:a16="http://schemas.microsoft.com/office/drawing/2014/main" id="{809F18B2-C248-6D31-724C-FE078113A305}"/>
              </a:ext>
            </a:extLst>
          </p:cNvPr>
          <p:cNvCxnSpPr>
            <a:cxnSpLocks/>
          </p:cNvCxnSpPr>
          <p:nvPr userDrawn="1"/>
        </p:nvCxnSpPr>
        <p:spPr>
          <a:xfrm>
            <a:off x="571484" y="416859"/>
            <a:ext cx="0" cy="591671"/>
          </a:xfrm>
          <a:prstGeom prst="straightConnector1">
            <a:avLst/>
          </a:prstGeom>
          <a:noFill/>
          <a:ln w="635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" name="Google Shape;313;p38">
            <a:extLst>
              <a:ext uri="{FF2B5EF4-FFF2-40B4-BE49-F238E27FC236}">
                <a16:creationId xmlns:a16="http://schemas.microsoft.com/office/drawing/2014/main" id="{DD269283-72AF-0546-DD87-A810E33F55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59525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large + object" preserve="1" userDrawn="1">
  <p:cSld name="5_Title large + object"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1" name="Google Shape;311;p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15" name="Google Shape;315;p3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93;p27">
            <a:extLst>
              <a:ext uri="{FF2B5EF4-FFF2-40B4-BE49-F238E27FC236}">
                <a16:creationId xmlns:a16="http://schemas.microsoft.com/office/drawing/2014/main" id="{8FC9B0A5-05E5-3289-60D3-9BFC8158086D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chemeClr val="bg2"/>
                </a:solidFill>
                <a:latin typeface="Radion B" panose="020B0502030000000004" pitchFamily="34" charset="0"/>
                <a:ea typeface="Inter"/>
                <a:cs typeface="Radion B" panose="020B0502030000000004" pitchFamily="34" charset="0"/>
                <a:sym typeface="Inter"/>
              </a:defRPr>
            </a:lvl1pPr>
            <a:lvl2pPr marL="0" marR="0" lvl="1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L="0" marR="0" lvl="2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L="0" marR="0" lvl="3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L="0" marR="0" lvl="4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L="0" marR="0" lvl="5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L="0" marR="0" lvl="6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L="0" marR="0" lvl="7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L="0" marR="0" lvl="8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838701E2-977B-34DE-5E7A-7B59E5AF5A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3529" y="1617896"/>
            <a:ext cx="10515600" cy="3743621"/>
          </a:xfrm>
        </p:spPr>
        <p:txBody>
          <a:bodyPr/>
          <a:lstStyle>
            <a:lvl2pPr>
              <a:buClr>
                <a:schemeClr val="accent1"/>
              </a:buClr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L" dirty="0"/>
          </a:p>
        </p:txBody>
      </p:sp>
      <p:cxnSp>
        <p:nvCxnSpPr>
          <p:cNvPr id="6" name="Google Shape;314;p38">
            <a:extLst>
              <a:ext uri="{FF2B5EF4-FFF2-40B4-BE49-F238E27FC236}">
                <a16:creationId xmlns:a16="http://schemas.microsoft.com/office/drawing/2014/main" id="{1CA287D4-1630-49C3-4BDC-01CDA18E570D}"/>
              </a:ext>
            </a:extLst>
          </p:cNvPr>
          <p:cNvCxnSpPr>
            <a:cxnSpLocks/>
          </p:cNvCxnSpPr>
          <p:nvPr userDrawn="1"/>
        </p:nvCxnSpPr>
        <p:spPr>
          <a:xfrm>
            <a:off x="571484" y="416859"/>
            <a:ext cx="0" cy="591671"/>
          </a:xfrm>
          <a:prstGeom prst="straightConnector1">
            <a:avLst/>
          </a:prstGeom>
          <a:noFill/>
          <a:ln w="635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" name="Google Shape;313;p38">
            <a:extLst>
              <a:ext uri="{FF2B5EF4-FFF2-40B4-BE49-F238E27FC236}">
                <a16:creationId xmlns:a16="http://schemas.microsoft.com/office/drawing/2014/main" id="{0DFCA771-E49E-0C4D-4DB7-8F1E37E5D3E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80765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large + object" preserve="1" userDrawn="1">
  <p:cSld name="6_Title large + object">
    <p:spTree>
      <p:nvGrpSpPr>
        <p:cNvPr id="1" name="Shape 3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" name="Google Shape;317;p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21" name="Google Shape;321;p3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93;p27">
            <a:extLst>
              <a:ext uri="{FF2B5EF4-FFF2-40B4-BE49-F238E27FC236}">
                <a16:creationId xmlns:a16="http://schemas.microsoft.com/office/drawing/2014/main" id="{62694942-B535-CE50-FA25-70E662AA6624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chemeClr val="bg2"/>
                </a:solidFill>
                <a:latin typeface="Radion B" panose="020B0502030000000004" pitchFamily="34" charset="0"/>
                <a:ea typeface="Inter"/>
                <a:cs typeface="Radion B" panose="020B0502030000000004" pitchFamily="34" charset="0"/>
                <a:sym typeface="Inter"/>
              </a:defRPr>
            </a:lvl1pPr>
            <a:lvl2pPr marL="0" marR="0" lvl="1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L="0" marR="0" lvl="2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L="0" marR="0" lvl="3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L="0" marR="0" lvl="4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L="0" marR="0" lvl="5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L="0" marR="0" lvl="6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L="0" marR="0" lvl="7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L="0" marR="0" lvl="8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5112D9B7-715E-C0C5-B058-2EAE4B3546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3737" y="1617896"/>
            <a:ext cx="10415392" cy="374362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L" dirty="0"/>
          </a:p>
        </p:txBody>
      </p:sp>
      <p:cxnSp>
        <p:nvCxnSpPr>
          <p:cNvPr id="7" name="Google Shape;314;p38">
            <a:extLst>
              <a:ext uri="{FF2B5EF4-FFF2-40B4-BE49-F238E27FC236}">
                <a16:creationId xmlns:a16="http://schemas.microsoft.com/office/drawing/2014/main" id="{9A17A7BC-A468-9400-428E-38CB8C0965F6}"/>
              </a:ext>
            </a:extLst>
          </p:cNvPr>
          <p:cNvCxnSpPr>
            <a:cxnSpLocks/>
          </p:cNvCxnSpPr>
          <p:nvPr userDrawn="1"/>
        </p:nvCxnSpPr>
        <p:spPr>
          <a:xfrm>
            <a:off x="5823002" y="37577"/>
            <a:ext cx="537069" cy="1"/>
          </a:xfrm>
          <a:prstGeom prst="straightConnector1">
            <a:avLst/>
          </a:prstGeom>
          <a:noFill/>
          <a:ln w="889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" name="Google Shape;313;p38">
            <a:extLst>
              <a:ext uri="{FF2B5EF4-FFF2-40B4-BE49-F238E27FC236}">
                <a16:creationId xmlns:a16="http://schemas.microsoft.com/office/drawing/2014/main" id="{2A20C3B0-A152-8564-845E-9156F2B835F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415392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912803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mall text + object " preserve="1" userDrawn="1">
  <p:cSld name="1_Title small text + object "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3" name="Google Shape;323;p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25" name="Google Shape;325;p40"/>
          <p:cNvSpPr txBox="1">
            <a:spLocks noGrp="1"/>
          </p:cNvSpPr>
          <p:nvPr>
            <p:ph type="ftr" idx="11"/>
          </p:nvPr>
        </p:nvSpPr>
        <p:spPr>
          <a:xfrm>
            <a:off x="7715252" y="6396051"/>
            <a:ext cx="3549649" cy="20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i="0">
                <a:latin typeface="Radion B" panose="020B0502030000000004" pitchFamily="34" charset="0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IL"/>
          </a:p>
        </p:txBody>
      </p:sp>
      <p:sp>
        <p:nvSpPr>
          <p:cNvPr id="326" name="Google Shape;326;p40"/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  <a:latin typeface="Radion B" panose="020B0502030000000004" pitchFamily="34" charset="0"/>
              </a:defRPr>
            </a:lvl1pPr>
            <a:lvl2pPr marL="0" lvl="1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2pPr>
            <a:lvl3pPr marL="0" lvl="2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3pPr>
            <a:lvl4pPr marL="0" lvl="3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4pPr>
            <a:lvl5pPr marL="0" lvl="4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5pPr>
            <a:lvl6pPr marL="0" lvl="5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6pPr>
            <a:lvl7pPr marL="0" lvl="6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7pPr>
            <a:lvl8pPr marL="0" lvl="7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8pPr>
            <a:lvl9pPr marL="0" lvl="8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pic>
        <p:nvPicPr>
          <p:cNvPr id="329" name="Google Shape;329;p4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6E9B8F1C-3C00-9A47-001C-64ADDD98C0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3529" y="1617896"/>
            <a:ext cx="10515600" cy="374362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L" dirty="0"/>
          </a:p>
        </p:txBody>
      </p:sp>
      <p:cxnSp>
        <p:nvCxnSpPr>
          <p:cNvPr id="6" name="Google Shape;314;p38">
            <a:extLst>
              <a:ext uri="{FF2B5EF4-FFF2-40B4-BE49-F238E27FC236}">
                <a16:creationId xmlns:a16="http://schemas.microsoft.com/office/drawing/2014/main" id="{405BC0F8-F709-B1B1-CDBC-F6C52E4035D6}"/>
              </a:ext>
            </a:extLst>
          </p:cNvPr>
          <p:cNvCxnSpPr>
            <a:cxnSpLocks/>
          </p:cNvCxnSpPr>
          <p:nvPr userDrawn="1"/>
        </p:nvCxnSpPr>
        <p:spPr>
          <a:xfrm>
            <a:off x="571484" y="416859"/>
            <a:ext cx="0" cy="591671"/>
          </a:xfrm>
          <a:prstGeom prst="straightConnector1">
            <a:avLst/>
          </a:prstGeom>
          <a:noFill/>
          <a:ln w="635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" name="Google Shape;313;p38">
            <a:extLst>
              <a:ext uri="{FF2B5EF4-FFF2-40B4-BE49-F238E27FC236}">
                <a16:creationId xmlns:a16="http://schemas.microsoft.com/office/drawing/2014/main" id="{80C2A27D-968B-7367-291A-E18842F7CA0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670098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large + object" preserve="1" userDrawn="1">
  <p:cSld name="3_Title large + object">
    <p:spTree>
      <p:nvGrpSpPr>
        <p:cNvPr id="1" name="Shape 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2" name="Google Shape;332;p41"/>
          <p:cNvSpPr txBox="1">
            <a:spLocks noGrp="1"/>
          </p:cNvSpPr>
          <p:nvPr>
            <p:ph type="dt" idx="10"/>
          </p:nvPr>
        </p:nvSpPr>
        <p:spPr>
          <a:xfrm>
            <a:off x="1652401" y="6920552"/>
            <a:ext cx="2743200" cy="20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  <p:sp>
        <p:nvSpPr>
          <p:cNvPr id="333" name="Google Shape;333;p41"/>
          <p:cNvSpPr txBox="1">
            <a:spLocks noGrp="1"/>
          </p:cNvSpPr>
          <p:nvPr>
            <p:ph type="ftr" idx="11"/>
          </p:nvPr>
        </p:nvSpPr>
        <p:spPr>
          <a:xfrm>
            <a:off x="7715252" y="6396051"/>
            <a:ext cx="3549649" cy="20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i="0">
                <a:latin typeface="Radion B" panose="020B0502030000000004" pitchFamily="34" charset="0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IL"/>
          </a:p>
        </p:txBody>
      </p:sp>
      <p:sp>
        <p:nvSpPr>
          <p:cNvPr id="334" name="Google Shape;334;p41"/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  <a:latin typeface="Radion B" panose="020B0502030000000004" pitchFamily="34" charset="0"/>
              </a:defRPr>
            </a:lvl1pPr>
            <a:lvl2pPr marL="0" lvl="1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2pPr>
            <a:lvl3pPr marL="0" lvl="2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3pPr>
            <a:lvl4pPr marL="0" lvl="3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4pPr>
            <a:lvl5pPr marL="0" lvl="4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5pPr>
            <a:lvl6pPr marL="0" lvl="5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6pPr>
            <a:lvl7pPr marL="0" lvl="6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7pPr>
            <a:lvl8pPr marL="0" lvl="7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8pPr>
            <a:lvl9pPr marL="0" lvl="8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335" name="Google Shape;335;p41"/>
          <p:cNvSpPr txBox="1">
            <a:spLocks noGrp="1"/>
          </p:cNvSpPr>
          <p:nvPr>
            <p:ph type="title"/>
          </p:nvPr>
        </p:nvSpPr>
        <p:spPr>
          <a:xfrm>
            <a:off x="251999" y="251999"/>
            <a:ext cx="11689200" cy="10747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7222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5400"/>
              <a:buFont typeface="Inter ExtraBold"/>
              <a:buNone/>
              <a:defRPr b="1" i="0"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endParaRPr dirty="0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64C15CE9-C45E-2528-BBC1-48E40060FB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01" y="1872135"/>
            <a:ext cx="11689200" cy="37727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800"/>
            </a:lvl1pPr>
            <a:lvl2pPr>
              <a:defRPr sz="2200" b="0"/>
            </a:lvl2pPr>
            <a:lvl3pPr>
              <a:defRPr sz="1800" b="0"/>
            </a:lvl3pPr>
            <a:lvl4pPr>
              <a:defRPr sz="14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L" dirty="0"/>
          </a:p>
        </p:txBody>
      </p:sp>
    </p:spTree>
    <p:extLst>
      <p:ext uri="{BB962C8B-B14F-4D97-AF65-F5344CB8AC3E}">
        <p14:creationId xmlns:p14="http://schemas.microsoft.com/office/powerpoint/2010/main" val="11189984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large + object" preserve="1" userDrawn="1">
  <p:cSld name="8_Title large + object">
    <p:spTree>
      <p:nvGrpSpPr>
        <p:cNvPr id="1" name="Shape 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2" name="Google Shape;202;p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6" name="Google Shape;206;p2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93;p27">
            <a:extLst>
              <a:ext uri="{FF2B5EF4-FFF2-40B4-BE49-F238E27FC236}">
                <a16:creationId xmlns:a16="http://schemas.microsoft.com/office/drawing/2014/main" id="{6A15FF32-2A53-8361-F0CD-4B115B0B82A2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chemeClr val="bg2"/>
                </a:solidFill>
                <a:latin typeface="Radion B" panose="020B0502030000000004" pitchFamily="34" charset="0"/>
                <a:ea typeface="Inter"/>
                <a:cs typeface="Radion B" panose="020B0502030000000004" pitchFamily="34" charset="0"/>
                <a:sym typeface="Inter"/>
              </a:defRPr>
            </a:lvl1pPr>
            <a:lvl2pPr marL="0" marR="0" lvl="1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L="0" marR="0" lvl="2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L="0" marR="0" lvl="3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L="0" marR="0" lvl="4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L="0" marR="0" lvl="5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L="0" marR="0" lvl="6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L="0" marR="0" lvl="7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L="0" marR="0" lvl="8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2AB77A-9F49-EB58-243E-2A5B526A78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01" y="2709976"/>
            <a:ext cx="11689200" cy="29348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L" dirty="0"/>
          </a:p>
        </p:txBody>
      </p:sp>
      <p:cxnSp>
        <p:nvCxnSpPr>
          <p:cNvPr id="6" name="Google Shape;314;p38">
            <a:extLst>
              <a:ext uri="{FF2B5EF4-FFF2-40B4-BE49-F238E27FC236}">
                <a16:creationId xmlns:a16="http://schemas.microsoft.com/office/drawing/2014/main" id="{64902C86-84FD-D009-BA07-35A858FCD8E4}"/>
              </a:ext>
            </a:extLst>
          </p:cNvPr>
          <p:cNvCxnSpPr>
            <a:cxnSpLocks/>
          </p:cNvCxnSpPr>
          <p:nvPr userDrawn="1"/>
        </p:nvCxnSpPr>
        <p:spPr>
          <a:xfrm>
            <a:off x="571484" y="416859"/>
            <a:ext cx="0" cy="591671"/>
          </a:xfrm>
          <a:prstGeom prst="straightConnector1">
            <a:avLst/>
          </a:prstGeom>
          <a:noFill/>
          <a:ln w="635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" name="Google Shape;313;p38">
            <a:extLst>
              <a:ext uri="{FF2B5EF4-FFF2-40B4-BE49-F238E27FC236}">
                <a16:creationId xmlns:a16="http://schemas.microsoft.com/office/drawing/2014/main" id="{19F2DBF1-BA3E-7223-D3B9-7F7E7F1783D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28162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large + object" preserve="1" userDrawn="1">
  <p:cSld name="Title large + object"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white and purple background&#10;&#10;Description automatically generated">
            <a:extLst>
              <a:ext uri="{FF2B5EF4-FFF2-40B4-BE49-F238E27FC236}">
                <a16:creationId xmlns:a16="http://schemas.microsoft.com/office/drawing/2014/main" id="{14709A63-F862-5736-4355-FB82C1C63C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13" name="Google Shape;213;p3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93;p27">
            <a:extLst>
              <a:ext uri="{FF2B5EF4-FFF2-40B4-BE49-F238E27FC236}">
                <a16:creationId xmlns:a16="http://schemas.microsoft.com/office/drawing/2014/main" id="{5F868B5C-42F4-3359-A336-76607D8F56B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chemeClr val="bg2"/>
                </a:solidFill>
                <a:latin typeface="Radion B" panose="020B0502030000000004" pitchFamily="34" charset="0"/>
                <a:ea typeface="Inter"/>
                <a:cs typeface="Radion B" panose="020B0502030000000004" pitchFamily="34" charset="0"/>
                <a:sym typeface="Inter"/>
              </a:defRPr>
            </a:lvl1pPr>
            <a:lvl2pPr marL="0" marR="0" lvl="1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L="0" marR="0" lvl="2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L="0" marR="0" lvl="3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L="0" marR="0" lvl="4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L="0" marR="0" lvl="5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L="0" marR="0" lvl="6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L="0" marR="0" lvl="7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L="0" marR="0" lvl="8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95CD69-525B-372B-2DB1-26B063519B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3529" y="1872135"/>
            <a:ext cx="10515600" cy="37727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L" dirty="0"/>
          </a:p>
        </p:txBody>
      </p:sp>
      <p:cxnSp>
        <p:nvCxnSpPr>
          <p:cNvPr id="7" name="Google Shape;314;p38">
            <a:extLst>
              <a:ext uri="{FF2B5EF4-FFF2-40B4-BE49-F238E27FC236}">
                <a16:creationId xmlns:a16="http://schemas.microsoft.com/office/drawing/2014/main" id="{DA4EF5E2-09AD-DA3F-754D-D2DC6619E7FD}"/>
              </a:ext>
            </a:extLst>
          </p:cNvPr>
          <p:cNvCxnSpPr>
            <a:cxnSpLocks/>
          </p:cNvCxnSpPr>
          <p:nvPr userDrawn="1"/>
        </p:nvCxnSpPr>
        <p:spPr>
          <a:xfrm>
            <a:off x="571484" y="416859"/>
            <a:ext cx="0" cy="591671"/>
          </a:xfrm>
          <a:prstGeom prst="straightConnector1">
            <a:avLst/>
          </a:prstGeom>
          <a:noFill/>
          <a:ln w="635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" name="Google Shape;313;p38">
            <a:extLst>
              <a:ext uri="{FF2B5EF4-FFF2-40B4-BE49-F238E27FC236}">
                <a16:creationId xmlns:a16="http://schemas.microsoft.com/office/drawing/2014/main" id="{B05BF896-E84D-23ED-FB8E-C1E756D8184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206958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large + object" preserve="1" userDrawn="1">
  <p:cSld name="9_Title large + object"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" name="Google Shape;215;p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6" name="Google Shape;216;p31"/>
          <p:cNvSpPr>
            <a:spLocks noGrp="1"/>
          </p:cNvSpPr>
          <p:nvPr>
            <p:ph type="body" idx="1"/>
          </p:nvPr>
        </p:nvSpPr>
        <p:spPr>
          <a:xfrm>
            <a:off x="528151" y="2070101"/>
            <a:ext cx="3530600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19" name="Google Shape;219;p31"/>
          <p:cNvSpPr txBox="1">
            <a:spLocks noGrp="1"/>
          </p:cNvSpPr>
          <p:nvPr>
            <p:ph type="body" idx="2"/>
          </p:nvPr>
        </p:nvSpPr>
        <p:spPr>
          <a:xfrm>
            <a:off x="801201" y="2870201"/>
            <a:ext cx="2984500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1" i="0">
                <a:solidFill>
                  <a:srgbClr val="6437FF"/>
                </a:solidFill>
                <a:latin typeface="Radion B Demi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20" name="Google Shape;220;p31"/>
          <p:cNvSpPr txBox="1">
            <a:spLocks noGrp="1"/>
          </p:cNvSpPr>
          <p:nvPr>
            <p:ph type="body" idx="3"/>
          </p:nvPr>
        </p:nvSpPr>
        <p:spPr>
          <a:xfrm>
            <a:off x="712301" y="4178301"/>
            <a:ext cx="3162300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b="0" i="0">
                <a:solidFill>
                  <a:schemeClr val="dk1"/>
                </a:solidFill>
                <a:latin typeface="Radion B" panose="020B0502030000000004" pitchFamily="34" charset="0"/>
                <a:ea typeface="Radion B" panose="020B0502030000000004" pitchFamily="34" charset="0"/>
                <a:cs typeface="Arial"/>
                <a:sym typeface="Arial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21" name="Google Shape;221;p31"/>
          <p:cNvSpPr>
            <a:spLocks noGrp="1"/>
          </p:cNvSpPr>
          <p:nvPr>
            <p:ph type="pic" idx="4"/>
          </p:nvPr>
        </p:nvSpPr>
        <p:spPr>
          <a:xfrm>
            <a:off x="1712425" y="1568451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sp>
        <p:nvSpPr>
          <p:cNvPr id="222" name="Google Shape;222;p31"/>
          <p:cNvSpPr>
            <a:spLocks noGrp="1"/>
          </p:cNvSpPr>
          <p:nvPr>
            <p:ph type="body" idx="5"/>
          </p:nvPr>
        </p:nvSpPr>
        <p:spPr>
          <a:xfrm>
            <a:off x="4285972" y="2070101"/>
            <a:ext cx="3530600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23" name="Google Shape;223;p31"/>
          <p:cNvSpPr txBox="1">
            <a:spLocks noGrp="1"/>
          </p:cNvSpPr>
          <p:nvPr>
            <p:ph type="body" idx="6"/>
          </p:nvPr>
        </p:nvSpPr>
        <p:spPr>
          <a:xfrm>
            <a:off x="4559023" y="2870201"/>
            <a:ext cx="2984500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1" i="0">
                <a:solidFill>
                  <a:srgbClr val="6437FF"/>
                </a:solidFill>
                <a:latin typeface="Radion B Demi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24" name="Google Shape;224;p31"/>
          <p:cNvSpPr txBox="1">
            <a:spLocks noGrp="1"/>
          </p:cNvSpPr>
          <p:nvPr>
            <p:ph type="body" idx="7"/>
          </p:nvPr>
        </p:nvSpPr>
        <p:spPr>
          <a:xfrm>
            <a:off x="4470123" y="4178301"/>
            <a:ext cx="3162300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25" name="Google Shape;225;p31"/>
          <p:cNvSpPr>
            <a:spLocks noGrp="1"/>
          </p:cNvSpPr>
          <p:nvPr>
            <p:ph type="pic" idx="8"/>
          </p:nvPr>
        </p:nvSpPr>
        <p:spPr>
          <a:xfrm>
            <a:off x="5470247" y="1568451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sp>
        <p:nvSpPr>
          <p:cNvPr id="227" name="Google Shape;227;p31"/>
          <p:cNvSpPr>
            <a:spLocks noGrp="1"/>
          </p:cNvSpPr>
          <p:nvPr>
            <p:ph type="body" idx="9"/>
          </p:nvPr>
        </p:nvSpPr>
        <p:spPr>
          <a:xfrm>
            <a:off x="8038737" y="2070101"/>
            <a:ext cx="3530600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28" name="Google Shape;228;p31"/>
          <p:cNvSpPr txBox="1">
            <a:spLocks noGrp="1"/>
          </p:cNvSpPr>
          <p:nvPr>
            <p:ph type="body" idx="13"/>
          </p:nvPr>
        </p:nvSpPr>
        <p:spPr>
          <a:xfrm>
            <a:off x="8311787" y="2870201"/>
            <a:ext cx="2984500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1" i="0">
                <a:solidFill>
                  <a:srgbClr val="6437FF"/>
                </a:solidFill>
                <a:latin typeface="Radion B Demi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29" name="Google Shape;229;p31"/>
          <p:cNvSpPr txBox="1">
            <a:spLocks noGrp="1"/>
          </p:cNvSpPr>
          <p:nvPr>
            <p:ph type="body" idx="14"/>
          </p:nvPr>
        </p:nvSpPr>
        <p:spPr>
          <a:xfrm>
            <a:off x="8222887" y="4178301"/>
            <a:ext cx="3162300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30" name="Google Shape;230;p31"/>
          <p:cNvSpPr>
            <a:spLocks noGrp="1"/>
          </p:cNvSpPr>
          <p:nvPr>
            <p:ph type="pic" idx="15"/>
          </p:nvPr>
        </p:nvSpPr>
        <p:spPr>
          <a:xfrm>
            <a:off x="9223012" y="1568451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pic>
        <p:nvPicPr>
          <p:cNvPr id="231" name="Google Shape;231;p3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93;p27">
            <a:extLst>
              <a:ext uri="{FF2B5EF4-FFF2-40B4-BE49-F238E27FC236}">
                <a16:creationId xmlns:a16="http://schemas.microsoft.com/office/drawing/2014/main" id="{D0C0D7D3-F332-6E26-18FC-68A33C753DA1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chemeClr val="bg2"/>
                </a:solidFill>
                <a:latin typeface="Radion B" panose="020B0502030000000004" pitchFamily="34" charset="0"/>
                <a:ea typeface="Inter"/>
                <a:cs typeface="Radion B" panose="020B0502030000000004" pitchFamily="34" charset="0"/>
                <a:sym typeface="Inter"/>
              </a:defRPr>
            </a:lvl1pPr>
            <a:lvl2pPr marL="0" marR="0" lvl="1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L="0" marR="0" lvl="2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L="0" marR="0" lvl="3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L="0" marR="0" lvl="4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L="0" marR="0" lvl="5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L="0" marR="0" lvl="6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L="0" marR="0" lvl="7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L="0" marR="0" lvl="8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cxnSp>
        <p:nvCxnSpPr>
          <p:cNvPr id="6" name="Google Shape;314;p38">
            <a:extLst>
              <a:ext uri="{FF2B5EF4-FFF2-40B4-BE49-F238E27FC236}">
                <a16:creationId xmlns:a16="http://schemas.microsoft.com/office/drawing/2014/main" id="{28FA9EB6-9274-1A05-B19C-61EE59D8C19A}"/>
              </a:ext>
            </a:extLst>
          </p:cNvPr>
          <p:cNvCxnSpPr>
            <a:cxnSpLocks/>
          </p:cNvCxnSpPr>
          <p:nvPr userDrawn="1"/>
        </p:nvCxnSpPr>
        <p:spPr>
          <a:xfrm>
            <a:off x="571484" y="416859"/>
            <a:ext cx="0" cy="591671"/>
          </a:xfrm>
          <a:prstGeom prst="straightConnector1">
            <a:avLst/>
          </a:prstGeom>
          <a:noFill/>
          <a:ln w="635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" name="Google Shape;313;p38">
            <a:extLst>
              <a:ext uri="{FF2B5EF4-FFF2-40B4-BE49-F238E27FC236}">
                <a16:creationId xmlns:a16="http://schemas.microsoft.com/office/drawing/2014/main" id="{2CF17F2E-EBA5-D9DF-8E31-2BC1482DC2B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230569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large + object" preserve="1" userDrawn="1">
  <p:cSld name="1_Title large + object">
    <p:spTree>
      <p:nvGrpSpPr>
        <p:cNvPr id="1" name="Shape 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3A708B6-7DBC-238B-EEDC-531D517C326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37" name="Google Shape;237;p32"/>
          <p:cNvSpPr txBox="1">
            <a:spLocks noGrp="1"/>
          </p:cNvSpPr>
          <p:nvPr>
            <p:ph type="ftr" idx="11"/>
          </p:nvPr>
        </p:nvSpPr>
        <p:spPr>
          <a:xfrm>
            <a:off x="7715252" y="6396051"/>
            <a:ext cx="3549649" cy="20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i="0">
                <a:latin typeface="Radion B" panose="020B0502030000000004" pitchFamily="34" charset="0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IL"/>
          </a:p>
        </p:txBody>
      </p:sp>
      <p:sp>
        <p:nvSpPr>
          <p:cNvPr id="238" name="Google Shape;238;p32"/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  <a:latin typeface="Radion B" panose="020B0502030000000004" pitchFamily="34" charset="0"/>
              </a:defRPr>
            </a:lvl1pPr>
            <a:lvl2pPr marL="0" lvl="1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2pPr>
            <a:lvl3pPr marL="0" lvl="2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3pPr>
            <a:lvl4pPr marL="0" lvl="3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4pPr>
            <a:lvl5pPr marL="0" lvl="4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5pPr>
            <a:lvl6pPr marL="0" lvl="5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6pPr>
            <a:lvl7pPr marL="0" lvl="6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7pPr>
            <a:lvl8pPr marL="0" lvl="7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8pPr>
            <a:lvl9pPr marL="0" lvl="8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pic>
        <p:nvPicPr>
          <p:cNvPr id="239" name="Google Shape;239;p3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8E1CF08-0B66-A9AB-F4A4-F60F5078407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3529" y="1617896"/>
            <a:ext cx="10515600" cy="3743621"/>
          </a:xfrm>
        </p:spPr>
        <p:txBody>
          <a:bodyPr/>
          <a:lstStyle>
            <a:lvl1pPr>
              <a:lnSpc>
                <a:spcPct val="100000"/>
              </a:lnSpc>
              <a:defRPr b="1" i="0">
                <a:solidFill>
                  <a:schemeClr val="bg2"/>
                </a:solidFill>
                <a:latin typeface="Radion B Demi" panose="020B0502030000000004" pitchFamily="34" charset="0"/>
              </a:defRPr>
            </a:lvl1pPr>
            <a:lvl2pPr>
              <a:lnSpc>
                <a:spcPct val="100000"/>
              </a:lnSpc>
              <a:defRPr b="0" i="0">
                <a:solidFill>
                  <a:schemeClr val="bg2"/>
                </a:solidFill>
                <a:latin typeface="Radion B" panose="020B0502030000000004" pitchFamily="34" charset="0"/>
              </a:defRPr>
            </a:lvl2pPr>
            <a:lvl3pPr>
              <a:lnSpc>
                <a:spcPct val="100000"/>
              </a:lnSpc>
              <a:defRPr b="0" i="0">
                <a:solidFill>
                  <a:schemeClr val="bg2"/>
                </a:solidFill>
                <a:latin typeface="Radion B Light" panose="020B0402030000000004" pitchFamily="34" charset="0"/>
              </a:defRPr>
            </a:lvl3pPr>
            <a:lvl4pPr>
              <a:lnSpc>
                <a:spcPct val="100000"/>
              </a:lnSpc>
              <a:defRPr b="0" i="0">
                <a:solidFill>
                  <a:schemeClr val="bg2"/>
                </a:solidFill>
                <a:latin typeface="Radion B Light" panose="020B0402030000000004" pitchFamily="34" charset="0"/>
              </a:defRPr>
            </a:lvl4pPr>
            <a:lvl5pPr>
              <a:lnSpc>
                <a:spcPct val="100000"/>
              </a:lnSpc>
              <a:defRPr b="0" i="0">
                <a:solidFill>
                  <a:schemeClr val="bg2"/>
                </a:solidFill>
                <a:latin typeface="Radion B Thin" panose="020B03020300000000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L" dirty="0"/>
          </a:p>
        </p:txBody>
      </p:sp>
      <p:sp>
        <p:nvSpPr>
          <p:cNvPr id="4" name="Google Shape;313;p38">
            <a:extLst>
              <a:ext uri="{FF2B5EF4-FFF2-40B4-BE49-F238E27FC236}">
                <a16:creationId xmlns:a16="http://schemas.microsoft.com/office/drawing/2014/main" id="{8293D678-4761-2776-C739-0B308DDDD67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  <p:cxnSp>
        <p:nvCxnSpPr>
          <p:cNvPr id="6" name="Google Shape;314;p38">
            <a:extLst>
              <a:ext uri="{FF2B5EF4-FFF2-40B4-BE49-F238E27FC236}">
                <a16:creationId xmlns:a16="http://schemas.microsoft.com/office/drawing/2014/main" id="{1E6DC0F1-F15A-62A0-8BC1-2AEF5616B0FC}"/>
              </a:ext>
            </a:extLst>
          </p:cNvPr>
          <p:cNvCxnSpPr>
            <a:cxnSpLocks/>
          </p:cNvCxnSpPr>
          <p:nvPr userDrawn="1"/>
        </p:nvCxnSpPr>
        <p:spPr>
          <a:xfrm>
            <a:off x="571484" y="416859"/>
            <a:ext cx="0" cy="591671"/>
          </a:xfrm>
          <a:prstGeom prst="straightConnector1">
            <a:avLst/>
          </a:prstGeom>
          <a:noFill/>
          <a:ln w="635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669820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large + object" preserve="1" userDrawn="1">
  <p:cSld name="2_Title large + object">
    <p:spTree>
      <p:nvGrpSpPr>
        <p:cNvPr id="1" name="Shape 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3" name="Google Shape;233;p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7" name="Google Shape;237;p32"/>
          <p:cNvSpPr txBox="1">
            <a:spLocks noGrp="1"/>
          </p:cNvSpPr>
          <p:nvPr>
            <p:ph type="ftr" idx="11"/>
          </p:nvPr>
        </p:nvSpPr>
        <p:spPr>
          <a:xfrm>
            <a:off x="7715252" y="6396051"/>
            <a:ext cx="3549649" cy="20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i="0">
                <a:latin typeface="Radion B" panose="020B0502030000000004" pitchFamily="34" charset="0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IL"/>
          </a:p>
        </p:txBody>
      </p:sp>
      <p:sp>
        <p:nvSpPr>
          <p:cNvPr id="238" name="Google Shape;238;p32"/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  <a:latin typeface="Radion B" panose="020B0502030000000004" pitchFamily="34" charset="0"/>
              </a:defRPr>
            </a:lvl1pPr>
            <a:lvl2pPr marL="0" lvl="1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2pPr>
            <a:lvl3pPr marL="0" lvl="2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3pPr>
            <a:lvl4pPr marL="0" lvl="3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4pPr>
            <a:lvl5pPr marL="0" lvl="4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5pPr>
            <a:lvl6pPr marL="0" lvl="5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6pPr>
            <a:lvl7pPr marL="0" lvl="6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7pPr>
            <a:lvl8pPr marL="0" lvl="7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8pPr>
            <a:lvl9pPr marL="0" lvl="8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pic>
        <p:nvPicPr>
          <p:cNvPr id="239" name="Google Shape;239;p3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424;p48">
            <a:extLst>
              <a:ext uri="{FF2B5EF4-FFF2-40B4-BE49-F238E27FC236}">
                <a16:creationId xmlns:a16="http://schemas.microsoft.com/office/drawing/2014/main" id="{2920D082-0E47-4382-2C26-8FDE7F522C8F}"/>
              </a:ext>
            </a:extLst>
          </p:cNvPr>
          <p:cNvSpPr/>
          <p:nvPr userDrawn="1"/>
        </p:nvSpPr>
        <p:spPr>
          <a:xfrm>
            <a:off x="568963" y="1684714"/>
            <a:ext cx="11098413" cy="4178783"/>
          </a:xfrm>
          <a:prstGeom prst="roundRect">
            <a:avLst>
              <a:gd name="adj" fmla="val 3177"/>
            </a:avLst>
          </a:prstGeom>
          <a:solidFill>
            <a:schemeClr val="bg1"/>
          </a:solidFill>
          <a:ln>
            <a:noFill/>
          </a:ln>
          <a:effectLst>
            <a:outerShdw blurRad="659425" dist="38100" dir="5400000" algn="t" rotWithShape="0">
              <a:schemeClr val="accent1">
                <a:alpha val="17850"/>
              </a:schemeClr>
            </a:outerShdw>
          </a:effectLst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933" b="0" i="0" u="none" strike="noStrike" cap="none">
              <a:solidFill>
                <a:schemeClr val="lt1"/>
              </a:solidFill>
              <a:latin typeface="Radion B" panose="020B0502030000000004" pitchFamily="34" charset="0"/>
              <a:ea typeface="Arial"/>
              <a:cs typeface="Arial"/>
              <a:sym typeface="Arial"/>
            </a:endParaRPr>
          </a:p>
        </p:txBody>
      </p:sp>
      <p:cxnSp>
        <p:nvCxnSpPr>
          <p:cNvPr id="6" name="Google Shape;314;p38">
            <a:extLst>
              <a:ext uri="{FF2B5EF4-FFF2-40B4-BE49-F238E27FC236}">
                <a16:creationId xmlns:a16="http://schemas.microsoft.com/office/drawing/2014/main" id="{3C7B948C-D253-8F8A-9DB2-DB89E47F50AE}"/>
              </a:ext>
            </a:extLst>
          </p:cNvPr>
          <p:cNvCxnSpPr>
            <a:cxnSpLocks/>
          </p:cNvCxnSpPr>
          <p:nvPr userDrawn="1"/>
        </p:nvCxnSpPr>
        <p:spPr>
          <a:xfrm>
            <a:off x="571484" y="416859"/>
            <a:ext cx="0" cy="591671"/>
          </a:xfrm>
          <a:prstGeom prst="straightConnector1">
            <a:avLst/>
          </a:prstGeom>
          <a:noFill/>
          <a:ln w="635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" name="Google Shape;313;p38">
            <a:extLst>
              <a:ext uri="{FF2B5EF4-FFF2-40B4-BE49-F238E27FC236}">
                <a16:creationId xmlns:a16="http://schemas.microsoft.com/office/drawing/2014/main" id="{F6C7BC5C-AA90-3412-0F35-0732A8A01C6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567974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large + object" preserve="1" userDrawn="1">
  <p:cSld name="7_Title large + object">
    <p:spTree>
      <p:nvGrpSpPr>
        <p:cNvPr id="1" name="Shape 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1" name="Google Shape;241;p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-10800000"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45" name="Google Shape;245;p3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93;p27">
            <a:extLst>
              <a:ext uri="{FF2B5EF4-FFF2-40B4-BE49-F238E27FC236}">
                <a16:creationId xmlns:a16="http://schemas.microsoft.com/office/drawing/2014/main" id="{C3695F86-7E2A-9DC9-6B79-ADB21B8BA108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chemeClr val="bg2"/>
                </a:solidFill>
                <a:latin typeface="Radion B" panose="020B0502030000000004" pitchFamily="34" charset="0"/>
                <a:ea typeface="Inter"/>
                <a:cs typeface="Radion B" panose="020B0502030000000004" pitchFamily="34" charset="0"/>
                <a:sym typeface="Inter"/>
              </a:defRPr>
            </a:lvl1pPr>
            <a:lvl2pPr marL="0" marR="0" lvl="1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L="0" marR="0" lvl="2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L="0" marR="0" lvl="3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L="0" marR="0" lvl="4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L="0" marR="0" lvl="5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L="0" marR="0" lvl="6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L="0" marR="0" lvl="7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L="0" marR="0" lvl="8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DFC415F2-5415-9F9E-DFE2-D27FD5CF4A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3529" y="1617896"/>
            <a:ext cx="10515600" cy="374362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L" dirty="0"/>
          </a:p>
        </p:txBody>
      </p:sp>
      <p:cxnSp>
        <p:nvCxnSpPr>
          <p:cNvPr id="7" name="Google Shape;314;p38">
            <a:extLst>
              <a:ext uri="{FF2B5EF4-FFF2-40B4-BE49-F238E27FC236}">
                <a16:creationId xmlns:a16="http://schemas.microsoft.com/office/drawing/2014/main" id="{4E33DB34-513A-6412-1E08-E3053BD960CA}"/>
              </a:ext>
            </a:extLst>
          </p:cNvPr>
          <p:cNvCxnSpPr>
            <a:cxnSpLocks/>
          </p:cNvCxnSpPr>
          <p:nvPr userDrawn="1"/>
        </p:nvCxnSpPr>
        <p:spPr>
          <a:xfrm>
            <a:off x="571484" y="416859"/>
            <a:ext cx="0" cy="591671"/>
          </a:xfrm>
          <a:prstGeom prst="straightConnector1">
            <a:avLst/>
          </a:prstGeom>
          <a:noFill/>
          <a:ln w="635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" name="Google Shape;313;p38">
            <a:extLst>
              <a:ext uri="{FF2B5EF4-FFF2-40B4-BE49-F238E27FC236}">
                <a16:creationId xmlns:a16="http://schemas.microsoft.com/office/drawing/2014/main" id="{3AEB2720-ECAE-CFDC-00F9-23193696E07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177702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large + object" preserve="1" userDrawn="1">
  <p:cSld name="10_Title large + object">
    <p:spTree>
      <p:nvGrpSpPr>
        <p:cNvPr id="1" name="Shape 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7" name="Google Shape;247;p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-2795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48" name="Google Shape;248;p34"/>
          <p:cNvSpPr>
            <a:spLocks noGrp="1"/>
          </p:cNvSpPr>
          <p:nvPr>
            <p:ph type="body" idx="1"/>
          </p:nvPr>
        </p:nvSpPr>
        <p:spPr>
          <a:xfrm>
            <a:off x="342951" y="2070101"/>
            <a:ext cx="2103831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51" name="Google Shape;251;p34"/>
          <p:cNvSpPr txBox="1">
            <a:spLocks noGrp="1"/>
          </p:cNvSpPr>
          <p:nvPr>
            <p:ph type="body" idx="2"/>
          </p:nvPr>
        </p:nvSpPr>
        <p:spPr>
          <a:xfrm>
            <a:off x="533952" y="2870201"/>
            <a:ext cx="1778419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1" i="0">
                <a:solidFill>
                  <a:srgbClr val="6437FF"/>
                </a:solidFill>
                <a:latin typeface="Radion B Demi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52" name="Google Shape;252;p34"/>
          <p:cNvSpPr txBox="1">
            <a:spLocks noGrp="1"/>
          </p:cNvSpPr>
          <p:nvPr>
            <p:ph type="body" idx="3"/>
          </p:nvPr>
        </p:nvSpPr>
        <p:spPr>
          <a:xfrm>
            <a:off x="471767" y="4178301"/>
            <a:ext cx="1884365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53" name="Google Shape;253;p34"/>
          <p:cNvSpPr>
            <a:spLocks noGrp="1"/>
          </p:cNvSpPr>
          <p:nvPr>
            <p:ph type="pic" idx="4"/>
          </p:nvPr>
        </p:nvSpPr>
        <p:spPr>
          <a:xfrm>
            <a:off x="813841" y="1568451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sp>
        <p:nvSpPr>
          <p:cNvPr id="254" name="Google Shape;254;p34"/>
          <p:cNvSpPr>
            <a:spLocks noGrp="1"/>
          </p:cNvSpPr>
          <p:nvPr>
            <p:ph type="body" idx="5"/>
          </p:nvPr>
        </p:nvSpPr>
        <p:spPr>
          <a:xfrm>
            <a:off x="2715940" y="2070101"/>
            <a:ext cx="2103831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55" name="Google Shape;255;p34"/>
          <p:cNvSpPr txBox="1">
            <a:spLocks noGrp="1"/>
          </p:cNvSpPr>
          <p:nvPr>
            <p:ph type="body" idx="6"/>
          </p:nvPr>
        </p:nvSpPr>
        <p:spPr>
          <a:xfrm>
            <a:off x="2906941" y="2870201"/>
            <a:ext cx="1778419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1" i="0">
                <a:solidFill>
                  <a:srgbClr val="6437FF"/>
                </a:solidFill>
                <a:latin typeface="Radion B Demi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56" name="Google Shape;256;p34"/>
          <p:cNvSpPr txBox="1">
            <a:spLocks noGrp="1"/>
          </p:cNvSpPr>
          <p:nvPr>
            <p:ph type="body" idx="7"/>
          </p:nvPr>
        </p:nvSpPr>
        <p:spPr>
          <a:xfrm>
            <a:off x="2844756" y="4178301"/>
            <a:ext cx="1884367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57" name="Google Shape;257;p34"/>
          <p:cNvSpPr>
            <a:spLocks noGrp="1"/>
          </p:cNvSpPr>
          <p:nvPr>
            <p:ph type="pic" idx="8"/>
          </p:nvPr>
        </p:nvSpPr>
        <p:spPr>
          <a:xfrm>
            <a:off x="3186830" y="1568451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sp>
        <p:nvSpPr>
          <p:cNvPr id="259" name="Google Shape;259;p34"/>
          <p:cNvSpPr>
            <a:spLocks noGrp="1"/>
          </p:cNvSpPr>
          <p:nvPr>
            <p:ph type="body" idx="9"/>
          </p:nvPr>
        </p:nvSpPr>
        <p:spPr>
          <a:xfrm>
            <a:off x="5082967" y="2077978"/>
            <a:ext cx="2103831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60" name="Google Shape;260;p34"/>
          <p:cNvSpPr txBox="1">
            <a:spLocks noGrp="1"/>
          </p:cNvSpPr>
          <p:nvPr>
            <p:ph type="body" idx="13"/>
          </p:nvPr>
        </p:nvSpPr>
        <p:spPr>
          <a:xfrm>
            <a:off x="5273967" y="2878078"/>
            <a:ext cx="1778419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1" i="0">
                <a:solidFill>
                  <a:srgbClr val="6437FF"/>
                </a:solidFill>
                <a:latin typeface="Radion B Demi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61" name="Google Shape;261;p34"/>
          <p:cNvSpPr txBox="1">
            <a:spLocks noGrp="1"/>
          </p:cNvSpPr>
          <p:nvPr>
            <p:ph type="body" idx="14"/>
          </p:nvPr>
        </p:nvSpPr>
        <p:spPr>
          <a:xfrm>
            <a:off x="5211782" y="4186178"/>
            <a:ext cx="1884367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62" name="Google Shape;262;p34"/>
          <p:cNvSpPr>
            <a:spLocks noGrp="1"/>
          </p:cNvSpPr>
          <p:nvPr>
            <p:ph type="pic" idx="15"/>
          </p:nvPr>
        </p:nvSpPr>
        <p:spPr>
          <a:xfrm>
            <a:off x="5553856" y="1576327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sp>
        <p:nvSpPr>
          <p:cNvPr id="263" name="Google Shape;263;p34"/>
          <p:cNvSpPr>
            <a:spLocks noGrp="1"/>
          </p:cNvSpPr>
          <p:nvPr>
            <p:ph type="body" idx="16"/>
          </p:nvPr>
        </p:nvSpPr>
        <p:spPr>
          <a:xfrm>
            <a:off x="7445763" y="2081515"/>
            <a:ext cx="2103831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64" name="Google Shape;264;p34"/>
          <p:cNvSpPr txBox="1">
            <a:spLocks noGrp="1"/>
          </p:cNvSpPr>
          <p:nvPr>
            <p:ph type="body" idx="17"/>
          </p:nvPr>
        </p:nvSpPr>
        <p:spPr>
          <a:xfrm>
            <a:off x="7636765" y="2881615"/>
            <a:ext cx="1778417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1" i="0">
                <a:solidFill>
                  <a:srgbClr val="6437FF"/>
                </a:solidFill>
                <a:latin typeface="Radion B Demi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65" name="Google Shape;265;p34"/>
          <p:cNvSpPr txBox="1">
            <a:spLocks noGrp="1"/>
          </p:cNvSpPr>
          <p:nvPr>
            <p:ph type="body" idx="18"/>
          </p:nvPr>
        </p:nvSpPr>
        <p:spPr>
          <a:xfrm>
            <a:off x="7574579" y="4189714"/>
            <a:ext cx="1884365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66" name="Google Shape;266;p34"/>
          <p:cNvSpPr>
            <a:spLocks noGrp="1"/>
          </p:cNvSpPr>
          <p:nvPr>
            <p:ph type="pic" idx="19"/>
          </p:nvPr>
        </p:nvSpPr>
        <p:spPr>
          <a:xfrm>
            <a:off x="7916654" y="1579864"/>
            <a:ext cx="1162049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sp>
        <p:nvSpPr>
          <p:cNvPr id="267" name="Google Shape;267;p34"/>
          <p:cNvSpPr>
            <a:spLocks noGrp="1"/>
          </p:cNvSpPr>
          <p:nvPr>
            <p:ph type="body" idx="20"/>
          </p:nvPr>
        </p:nvSpPr>
        <p:spPr>
          <a:xfrm>
            <a:off x="9790921" y="2099485"/>
            <a:ext cx="2103831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68" name="Google Shape;268;p34"/>
          <p:cNvSpPr txBox="1">
            <a:spLocks noGrp="1"/>
          </p:cNvSpPr>
          <p:nvPr>
            <p:ph type="body" idx="21"/>
          </p:nvPr>
        </p:nvSpPr>
        <p:spPr>
          <a:xfrm>
            <a:off x="9981921" y="2899585"/>
            <a:ext cx="1778419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1" i="0">
                <a:solidFill>
                  <a:srgbClr val="6437FF"/>
                </a:solidFill>
                <a:latin typeface="Radion B Demi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69" name="Google Shape;269;p34"/>
          <p:cNvSpPr txBox="1">
            <a:spLocks noGrp="1"/>
          </p:cNvSpPr>
          <p:nvPr>
            <p:ph type="body" idx="22"/>
          </p:nvPr>
        </p:nvSpPr>
        <p:spPr>
          <a:xfrm>
            <a:off x="9919736" y="4207685"/>
            <a:ext cx="1884365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70" name="Google Shape;270;p34"/>
          <p:cNvSpPr>
            <a:spLocks noGrp="1"/>
          </p:cNvSpPr>
          <p:nvPr>
            <p:ph type="pic" idx="23"/>
          </p:nvPr>
        </p:nvSpPr>
        <p:spPr>
          <a:xfrm>
            <a:off x="10261811" y="1597835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pic>
        <p:nvPicPr>
          <p:cNvPr id="271" name="Google Shape;271;p3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93;p27">
            <a:extLst>
              <a:ext uri="{FF2B5EF4-FFF2-40B4-BE49-F238E27FC236}">
                <a16:creationId xmlns:a16="http://schemas.microsoft.com/office/drawing/2014/main" id="{210E641C-F4D9-504F-0060-38917067F390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chemeClr val="bg2"/>
                </a:solidFill>
                <a:latin typeface="Radion B" panose="020B0502030000000004" pitchFamily="34" charset="0"/>
                <a:ea typeface="Inter"/>
                <a:cs typeface="Radion B" panose="020B0502030000000004" pitchFamily="34" charset="0"/>
                <a:sym typeface="Inter"/>
              </a:defRPr>
            </a:lvl1pPr>
            <a:lvl2pPr marL="0" marR="0" lvl="1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L="0" marR="0" lvl="2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L="0" marR="0" lvl="3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L="0" marR="0" lvl="4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L="0" marR="0" lvl="5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L="0" marR="0" lvl="6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L="0" marR="0" lvl="7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L="0" marR="0" lvl="8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cxnSp>
        <p:nvCxnSpPr>
          <p:cNvPr id="6" name="Google Shape;314;p38">
            <a:extLst>
              <a:ext uri="{FF2B5EF4-FFF2-40B4-BE49-F238E27FC236}">
                <a16:creationId xmlns:a16="http://schemas.microsoft.com/office/drawing/2014/main" id="{7AC3E43F-F90C-9627-CDED-26432E12934F}"/>
              </a:ext>
            </a:extLst>
          </p:cNvPr>
          <p:cNvCxnSpPr>
            <a:cxnSpLocks/>
          </p:cNvCxnSpPr>
          <p:nvPr userDrawn="1"/>
        </p:nvCxnSpPr>
        <p:spPr>
          <a:xfrm>
            <a:off x="571484" y="416859"/>
            <a:ext cx="0" cy="591671"/>
          </a:xfrm>
          <a:prstGeom prst="straightConnector1">
            <a:avLst/>
          </a:prstGeom>
          <a:noFill/>
          <a:ln w="635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" name="Google Shape;313;p38">
            <a:extLst>
              <a:ext uri="{FF2B5EF4-FFF2-40B4-BE49-F238E27FC236}">
                <a16:creationId xmlns:a16="http://schemas.microsoft.com/office/drawing/2014/main" id="{96654125-AAF6-849D-A8B6-3C977BBB6B0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200841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 slide large text" preserve="1">
  <p:cSld name="2_Title slide large text"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3" name="Google Shape;273;p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74" name="Google Shape;274;p35"/>
          <p:cNvSpPr txBox="1">
            <a:spLocks noGrp="1"/>
          </p:cNvSpPr>
          <p:nvPr>
            <p:ph type="title"/>
          </p:nvPr>
        </p:nvSpPr>
        <p:spPr>
          <a:xfrm>
            <a:off x="932329" y="1856163"/>
            <a:ext cx="10515600" cy="25280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200"/>
              <a:buFont typeface="Inter ExtraBold"/>
              <a:buNone/>
              <a:defRPr sz="75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endParaRPr dirty="0"/>
          </a:p>
        </p:txBody>
      </p:sp>
      <p:pic>
        <p:nvPicPr>
          <p:cNvPr id="275" name="Google Shape;275;p3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11718" y="524800"/>
            <a:ext cx="2337389" cy="4291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182933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p27"/>
          <p:cNvSpPr txBox="1">
            <a:spLocks noGrp="1"/>
          </p:cNvSpPr>
          <p:nvPr>
            <p:ph type="ftr" idx="11"/>
          </p:nvPr>
        </p:nvSpPr>
        <p:spPr>
          <a:xfrm>
            <a:off x="7715252" y="6396051"/>
            <a:ext cx="3549649" cy="20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SzPts val="1100"/>
              <a:buFont typeface="Inter"/>
              <a:buNone/>
              <a:defRPr sz="933" i="0" u="none" strike="noStrike" cap="none">
                <a:solidFill>
                  <a:srgbClr val="333333"/>
                </a:solidFill>
                <a:latin typeface="Radion B" panose="020B0502030000000004" pitchFamily="34" charset="0"/>
                <a:ea typeface="Inter"/>
                <a:cs typeface="Radion B" panose="020B0502030000000004" pitchFamily="34" charset="0"/>
                <a:sym typeface="Inter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100"/>
              <a:buFont typeface="Inter"/>
              <a:buNone/>
              <a:defRPr sz="1867" i="0" u="none" strike="noStrike" cap="none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100"/>
              <a:buFont typeface="Inter"/>
              <a:buNone/>
              <a:defRPr sz="1867" i="0" u="none" strike="noStrike" cap="none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100"/>
              <a:buFont typeface="Inter"/>
              <a:buNone/>
              <a:defRPr sz="1867" i="0" u="none" strike="noStrike" cap="none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100"/>
              <a:buFont typeface="Inter"/>
              <a:buNone/>
              <a:defRPr sz="1867" i="0" u="none" strike="noStrike" cap="none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100"/>
              <a:buFont typeface="Inter"/>
              <a:buNone/>
              <a:defRPr sz="1867" i="0" u="none" strike="noStrike" cap="none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100"/>
              <a:buFont typeface="Inter"/>
              <a:buNone/>
              <a:defRPr sz="1867" i="0" u="none" strike="noStrike" cap="none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100"/>
              <a:buFont typeface="Inter"/>
              <a:buNone/>
              <a:defRPr sz="1867" i="0" u="none" strike="noStrike" cap="none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100"/>
              <a:buFont typeface="Inter"/>
              <a:buNone/>
              <a:defRPr sz="1867" i="0" u="none" strike="noStrike" cap="none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endParaRPr lang="en-IL" dirty="0"/>
          </a:p>
        </p:txBody>
      </p:sp>
      <p:sp>
        <p:nvSpPr>
          <p:cNvPr id="193" name="Google Shape;193;p27"/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chemeClr val="bg2"/>
                </a:solidFill>
                <a:latin typeface="Radion B" panose="020B0502030000000004" pitchFamily="34" charset="0"/>
                <a:ea typeface="Inter"/>
                <a:cs typeface="Radion B" panose="020B0502030000000004" pitchFamily="34" charset="0"/>
                <a:sym typeface="Inter"/>
              </a:defRPr>
            </a:lvl1pPr>
            <a:lvl2pPr marL="0" marR="0" lvl="1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L="0" marR="0" lvl="2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L="0" marR="0" lvl="3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L="0" marR="0" lvl="4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L="0" marR="0" lvl="5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L="0" marR="0" lvl="6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L="0" marR="0" lvl="7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L="0" marR="0" lvl="8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pic>
        <p:nvPicPr>
          <p:cNvPr id="194" name="Google Shape;194;p27"/>
          <p:cNvPicPr preferRelativeResize="0"/>
          <p:nvPr/>
        </p:nvPicPr>
        <p:blipFill>
          <a:blip r:embed="rId16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A7A155-797B-BE9C-9EF1-5592A273B9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0801" y="1872135"/>
            <a:ext cx="11689200" cy="37727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L" dirty="0"/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C43226CF-8FF8-8970-E30E-A901B44B1B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01" y="366185"/>
            <a:ext cx="10515600" cy="132503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</a:t>
            </a:r>
            <a:endParaRPr lang="en-IL" dirty="0"/>
          </a:p>
        </p:txBody>
      </p:sp>
    </p:spTree>
    <p:extLst>
      <p:ext uri="{BB962C8B-B14F-4D97-AF65-F5344CB8AC3E}">
        <p14:creationId xmlns:p14="http://schemas.microsoft.com/office/powerpoint/2010/main" val="393013851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5" r:id="rId13"/>
    <p:sldLayoutId id="2147483736" r:id="rId14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200" b="1" i="0" u="none" strike="noStrike" cap="none">
          <a:solidFill>
            <a:schemeClr val="bg2"/>
          </a:solidFill>
          <a:latin typeface="Radion B" panose="020B0502030000000004" pitchFamily="34" charset="0"/>
          <a:ea typeface="Radion B" panose="020B0502030000000004" pitchFamily="34" charset="0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L="380990" marR="0" lvl="0" indent="-380990" algn="l" rtl="0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defRPr sz="2800" b="0" i="0" u="none" strike="noStrike" cap="none">
          <a:solidFill>
            <a:schemeClr val="bg2"/>
          </a:solidFill>
          <a:latin typeface="Radion B Book" panose="020B0502030000000004" pitchFamily="34" charset="0"/>
          <a:ea typeface="Radion B Book" panose="020B0502030000000004" pitchFamily="34" charset="0"/>
          <a:cs typeface="Arial"/>
          <a:sym typeface="Arial"/>
        </a:defRPr>
      </a:lvl1pPr>
      <a:lvl2pPr marL="770447" marR="0" lvl="1" indent="-378875" algn="l" rtl="0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200" b="0" i="0" u="none" strike="noStrike" cap="none">
          <a:solidFill>
            <a:schemeClr val="bg2"/>
          </a:solidFill>
          <a:latin typeface="Radion B" panose="020B0502030000000004" pitchFamily="34" charset="0"/>
          <a:ea typeface="Radion B" panose="020B0502030000000004" pitchFamily="34" charset="0"/>
          <a:cs typeface="Arial"/>
          <a:sym typeface="Arial"/>
        </a:defRPr>
      </a:lvl2pPr>
      <a:lvl3pPr marL="1007508" marR="0" lvl="2" indent="-237061" algn="l" rtl="0">
        <a:lnSpc>
          <a:spcPct val="100000"/>
        </a:lnSpc>
        <a:spcBef>
          <a:spcPts val="0"/>
        </a:spcBef>
        <a:spcAft>
          <a:spcPts val="0"/>
        </a:spcAft>
        <a:buClr>
          <a:schemeClr val="accent3"/>
        </a:buClr>
        <a:buFont typeface="Arial" panose="020B0604020202020204" pitchFamily="34" charset="0"/>
        <a:buChar char="•"/>
        <a:tabLst>
          <a:tab pos="292093" algn="l"/>
        </a:tabLst>
        <a:defRPr sz="1800" b="0" i="0" u="none" strike="noStrike" cap="none">
          <a:solidFill>
            <a:schemeClr val="bg2"/>
          </a:solidFill>
          <a:latin typeface="Radion B Light" panose="020B0402030000000004" pitchFamily="34" charset="0"/>
          <a:ea typeface="Radion B Light" panose="020B0402030000000004" pitchFamily="34" charset="0"/>
          <a:cs typeface="Arial"/>
          <a:sym typeface="Arial"/>
        </a:defRPr>
      </a:lvl3pPr>
      <a:lvl4pPr marL="1248802" marR="0" lvl="3" indent="-241294" algn="l" rtl="0">
        <a:lnSpc>
          <a:spcPct val="100000"/>
        </a:lnSpc>
        <a:spcBef>
          <a:spcPts val="0"/>
        </a:spcBef>
        <a:spcAft>
          <a:spcPts val="0"/>
        </a:spcAft>
        <a:buClr>
          <a:schemeClr val="accent3"/>
        </a:buClr>
        <a:buFont typeface="Arial" panose="020B0604020202020204" pitchFamily="34" charset="0"/>
        <a:buChar char="•"/>
        <a:tabLst/>
        <a:defRPr sz="1400" b="0" i="0" u="none" strike="noStrike" cap="none">
          <a:solidFill>
            <a:schemeClr val="bg2"/>
          </a:solidFill>
          <a:latin typeface="Radion B Light" panose="020B0402030000000004" pitchFamily="34" charset="0"/>
          <a:ea typeface="Radion B Light" panose="020B0402030000000004" pitchFamily="34" charset="0"/>
          <a:cs typeface="Arial"/>
          <a:sym typeface="Arial"/>
        </a:defRPr>
      </a:lvl4pPr>
      <a:lvl5pPr marL="1422364" marR="0" lvl="4" indent="-173562" algn="l" rtl="0">
        <a:lnSpc>
          <a:spcPct val="100000"/>
        </a:lnSpc>
        <a:spcBef>
          <a:spcPts val="0"/>
        </a:spcBef>
        <a:spcAft>
          <a:spcPts val="0"/>
        </a:spcAft>
        <a:buClr>
          <a:schemeClr val="accent3"/>
        </a:buClr>
        <a:buFont typeface="Arial" panose="020B0604020202020204" pitchFamily="34" charset="0"/>
        <a:buChar char="•"/>
        <a:tabLst/>
        <a:defRPr sz="1200" b="0" i="0" u="none" strike="noStrike" cap="none">
          <a:solidFill>
            <a:schemeClr val="bg2"/>
          </a:solidFill>
          <a:latin typeface="Radion B Light" panose="020B0402030000000004" pitchFamily="34" charset="0"/>
          <a:ea typeface="Radion B Light" panose="020B0402030000000004" pitchFamily="34" charset="0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119">
          <p15:clr>
            <a:srgbClr val="F26B43"/>
          </p15:clr>
        </p15:guide>
        <p15:guide id="2" orient="horz" pos="1042">
          <p15:clr>
            <a:srgbClr val="F26B43"/>
          </p15:clr>
        </p15:guide>
        <p15:guide id="3" pos="2880">
          <p15:clr>
            <a:srgbClr val="F26B43"/>
          </p15:clr>
        </p15:guide>
        <p15:guide id="4" pos="5640">
          <p15:clr>
            <a:srgbClr val="F26B43"/>
          </p15:clr>
        </p15:guide>
        <p15:guide id="5" orient="horz" pos="119">
          <p15:clr>
            <a:srgbClr val="F26B43"/>
          </p15:clr>
        </p15:guide>
        <p15:guide id="6" orient="horz" pos="3121">
          <p15:clr>
            <a:srgbClr val="F26B43"/>
          </p15:clr>
        </p15:guide>
        <p15:guide id="7" orient="horz" pos="2879">
          <p15:clr>
            <a:srgbClr val="F26B43"/>
          </p15:clr>
        </p15:guide>
        <p15:guide id="8" orient="horz" pos="116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image" Target="../media/image34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5.emf"/><Relationship Id="rId5" Type="http://schemas.openxmlformats.org/officeDocument/2006/relationships/image" Target="../media/image360.png"/><Relationship Id="rId4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0.emf"/><Relationship Id="rId5" Type="http://schemas.openxmlformats.org/officeDocument/2006/relationships/image" Target="../media/image49.emf"/><Relationship Id="rId4" Type="http://schemas.openxmlformats.org/officeDocument/2006/relationships/image" Target="../media/image48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image" Target="../media/image51.emf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54.svg"/><Relationship Id="rId4" Type="http://schemas.openxmlformats.org/officeDocument/2006/relationships/image" Target="../media/image5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emf"/><Relationship Id="rId3" Type="http://schemas.openxmlformats.org/officeDocument/2006/relationships/image" Target="../media/image56.emf"/><Relationship Id="rId7" Type="http://schemas.openxmlformats.org/officeDocument/2006/relationships/image" Target="../media/image60.emf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9.emf"/><Relationship Id="rId11" Type="http://schemas.openxmlformats.org/officeDocument/2006/relationships/image" Target="../media/image64.emf"/><Relationship Id="rId5" Type="http://schemas.openxmlformats.org/officeDocument/2006/relationships/image" Target="../media/image58.emf"/><Relationship Id="rId10" Type="http://schemas.openxmlformats.org/officeDocument/2006/relationships/image" Target="../media/image63.emf"/><Relationship Id="rId4" Type="http://schemas.openxmlformats.org/officeDocument/2006/relationships/image" Target="../media/image57.emf"/><Relationship Id="rId9" Type="http://schemas.openxmlformats.org/officeDocument/2006/relationships/image" Target="../media/image62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69.emf"/><Relationship Id="rId5" Type="http://schemas.openxmlformats.org/officeDocument/2006/relationships/image" Target="../media/image68.emf"/><Relationship Id="rId4" Type="http://schemas.openxmlformats.org/officeDocument/2006/relationships/image" Target="../media/image6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image" Target="../media/image14.svg"/><Relationship Id="rId7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sv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hyperlink" Target="https://www.nature.com/" TargetMode="Externa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image" Target="../media/image24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5" Type="http://schemas.openxmlformats.org/officeDocument/2006/relationships/image" Target="../media/image59.png"/><Relationship Id="rId4" Type="http://schemas.openxmlformats.org/officeDocument/2006/relationships/image" Target="../media/image4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2.mov"/><Relationship Id="rId1" Type="http://schemas.microsoft.com/office/2007/relationships/media" Target="../media/media2.mov"/><Relationship Id="rId5" Type="http://schemas.openxmlformats.org/officeDocument/2006/relationships/image" Target="../media/image630.png"/><Relationship Id="rId4" Type="http://schemas.openxmlformats.org/officeDocument/2006/relationships/image" Target="../media/image4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2C8B65-E568-CE41-7B6A-D644191478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" y="1576888"/>
            <a:ext cx="10202863" cy="1334587"/>
          </a:xfrm>
        </p:spPr>
        <p:txBody>
          <a:bodyPr/>
          <a:lstStyle/>
          <a:p>
            <a:r>
              <a:rPr lang="en-US" dirty="0"/>
              <a:t>Intro to Neutral-atom Quantum Computing</a:t>
            </a:r>
            <a:endParaRPr lang="nl-NL" dirty="0">
              <a:solidFill>
                <a:schemeClr val="accent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7D51AA-A931-5DED-C009-FF3861B8FC4A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919913"/>
            <a:ext cx="2743200" cy="201612"/>
          </a:xfrm>
          <a:prstGeom prst="rect">
            <a:avLst/>
          </a:prstGeom>
        </p:spPr>
        <p:txBody>
          <a:bodyPr/>
          <a:lstStyle/>
          <a:p>
            <a:r>
              <a:rPr lang="en-GB"/>
              <a:t>01/06/2022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F9E616-C7E2-6928-2F82-B838CB115180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8642350" y="6919913"/>
            <a:ext cx="3549650" cy="201612"/>
          </a:xfrm>
        </p:spPr>
        <p:txBody>
          <a:bodyPr/>
          <a:lstStyle/>
          <a:p>
            <a:r>
              <a:rPr lang="en-GB"/>
              <a:t>Presentation title (optional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CA569D-CD35-7DF1-6A92-7BBEEA805DD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66550" y="6919913"/>
            <a:ext cx="425450" cy="203200"/>
          </a:xfrm>
        </p:spPr>
        <p:txBody>
          <a:bodyPr/>
          <a:lstStyle/>
          <a:p>
            <a:fld id="{8D6F7969-DE8A-4F2D-ACED-901F78AB9A57}" type="slidenum">
              <a:rPr lang="en-GB" smtClean="0"/>
              <a:pPr/>
              <a:t>1</a:t>
            </a:fld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4067797-9C20-1B6A-D4BB-B1B9DD964C83}"/>
              </a:ext>
            </a:extLst>
          </p:cNvPr>
          <p:cNvSpPr txBox="1"/>
          <p:nvPr/>
        </p:nvSpPr>
        <p:spPr>
          <a:xfrm>
            <a:off x="609600" y="4911780"/>
            <a:ext cx="19688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bg2"/>
                </a:solidFill>
                <a:latin typeface="Radion B" panose="020B0502030000000004" pitchFamily="34" charset="0"/>
              </a:rPr>
              <a:t>MIT </a:t>
            </a:r>
            <a:r>
              <a:rPr lang="en-US" sz="2400" b="1" dirty="0" err="1">
                <a:solidFill>
                  <a:schemeClr val="bg2"/>
                </a:solidFill>
                <a:latin typeface="Radion B" panose="020B0502030000000004" pitchFamily="34" charset="0"/>
              </a:rPr>
              <a:t>iQuHack</a:t>
            </a:r>
            <a:endParaRPr lang="en-US" sz="2400" b="1" dirty="0">
              <a:solidFill>
                <a:schemeClr val="bg2"/>
              </a:solidFill>
              <a:latin typeface="Radion B" panose="020B05020300000000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776A7B3-681E-CECD-2E90-E2BF953B7F0A}"/>
              </a:ext>
            </a:extLst>
          </p:cNvPr>
          <p:cNvSpPr txBox="1"/>
          <p:nvPr/>
        </p:nvSpPr>
        <p:spPr>
          <a:xfrm>
            <a:off x="6790944" y="5620512"/>
            <a:ext cx="413042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600" b="1" dirty="0">
                <a:solidFill>
                  <a:schemeClr val="bg2"/>
                </a:solidFill>
              </a:rPr>
              <a:t>Pedro Lopes, PhD </a:t>
            </a:r>
            <a:r>
              <a:rPr lang="en-US" sz="1600" b="1">
                <a:solidFill>
                  <a:schemeClr val="bg2"/>
                </a:solidFill>
              </a:rPr>
              <a:t>+ Phillip </a:t>
            </a:r>
            <a:r>
              <a:rPr lang="en-US" sz="1600" b="1" dirty="0">
                <a:solidFill>
                  <a:schemeClr val="bg2"/>
                </a:solidFill>
              </a:rPr>
              <a:t>Weinberg, PhD</a:t>
            </a:r>
          </a:p>
        </p:txBody>
      </p:sp>
    </p:spTree>
    <p:extLst>
      <p:ext uri="{BB962C8B-B14F-4D97-AF65-F5344CB8AC3E}">
        <p14:creationId xmlns:p14="http://schemas.microsoft.com/office/powerpoint/2010/main" val="36118922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7449FA-1CB5-9909-EC91-E2C3180C9CF3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</p:spPr>
        <p:txBody>
          <a:bodyPr/>
          <a:lstStyle/>
          <a:p>
            <a:fld id="{8D6F7969-DE8A-4F2D-ACED-901F78AB9A57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CDFCE5-53B4-E79F-10E4-2486AF229F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</p:spPr>
        <p:txBody>
          <a:bodyPr>
            <a:normAutofit fontScale="90000"/>
          </a:bodyPr>
          <a:lstStyle/>
          <a:p>
            <a:r>
              <a:rPr lang="en-US" dirty="0"/>
              <a:t>A neutral-atom quantum processor</a:t>
            </a:r>
            <a:br>
              <a:rPr lang="en-US" dirty="0"/>
            </a:br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DD489DDD-83F0-45A2-DD5C-0106E8DFFD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4811" y="1417380"/>
            <a:ext cx="9152457" cy="5349240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0A87FCF4-D89A-6940-E84B-E40F737C7E88}"/>
              </a:ext>
            </a:extLst>
          </p:cNvPr>
          <p:cNvGrpSpPr/>
          <p:nvPr/>
        </p:nvGrpSpPr>
        <p:grpSpPr>
          <a:xfrm>
            <a:off x="3146961" y="1840674"/>
            <a:ext cx="8443359" cy="4553777"/>
            <a:chOff x="3146961" y="1840674"/>
            <a:chExt cx="8443359" cy="4553777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26CD0B74-90BF-FB05-B2EA-B91FC1DE271E}"/>
                </a:ext>
              </a:extLst>
            </p:cNvPr>
            <p:cNvSpPr txBox="1"/>
            <p:nvPr/>
          </p:nvSpPr>
          <p:spPr>
            <a:xfrm>
              <a:off x="3348841" y="6148230"/>
              <a:ext cx="907300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600" dirty="0">
                  <a:solidFill>
                    <a:schemeClr val="accent1"/>
                  </a:solidFill>
                  <a:latin typeface="Radion B" panose="020B0502030000000004" pitchFamily="34" charset="0"/>
                </a:rPr>
                <a:t>Geometry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8F8B984C-F598-E51E-7524-94B7271FC493}"/>
                </a:ext>
              </a:extLst>
            </p:cNvPr>
            <p:cNvSpPr txBox="1"/>
            <p:nvPr/>
          </p:nvSpPr>
          <p:spPr>
            <a:xfrm>
              <a:off x="10492263" y="3708453"/>
              <a:ext cx="1098057" cy="49244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accent1"/>
                  </a:solidFill>
                  <a:latin typeface="Radion B" panose="020B0502030000000004" pitchFamily="34" charset="0"/>
                </a:rPr>
                <a:t>Dynamics</a:t>
              </a:r>
            </a:p>
            <a:p>
              <a:pPr algn="ctr"/>
              <a:r>
                <a:rPr lang="en-US" sz="1600" dirty="0">
                  <a:solidFill>
                    <a:schemeClr val="accent1"/>
                  </a:solidFill>
                  <a:latin typeface="Radion B" panose="020B0502030000000004" pitchFamily="34" charset="0"/>
                </a:rPr>
                <a:t>(algorithms)</a:t>
              </a:r>
            </a:p>
          </p:txBody>
        </p:sp>
        <p:sp>
          <p:nvSpPr>
            <p:cNvPr id="7" name="Left Brace 6">
              <a:extLst>
                <a:ext uri="{FF2B5EF4-FFF2-40B4-BE49-F238E27FC236}">
                  <a16:creationId xmlns:a16="http://schemas.microsoft.com/office/drawing/2014/main" id="{A4E77B41-3D90-AF3E-C8AE-614117FFFBE9}"/>
                </a:ext>
              </a:extLst>
            </p:cNvPr>
            <p:cNvSpPr/>
            <p:nvPr/>
          </p:nvSpPr>
          <p:spPr>
            <a:xfrm rot="10800000">
              <a:off x="9987147" y="1840674"/>
              <a:ext cx="374403" cy="4215741"/>
            </a:xfrm>
            <a:prstGeom prst="leftBrac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2EF36AEB-AB42-9A2E-3200-088EFF3D656F}"/>
                </a:ext>
              </a:extLst>
            </p:cNvPr>
            <p:cNvCxnSpPr/>
            <p:nvPr/>
          </p:nvCxnSpPr>
          <p:spPr>
            <a:xfrm flipV="1">
              <a:off x="4049486" y="5440620"/>
              <a:ext cx="332509" cy="615795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E15E2F92-BC42-DDB1-7943-9920724EEDF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33768" y="4652963"/>
              <a:ext cx="1215126" cy="1403452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3C614D09-4E20-34EF-4273-08896827B34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146961" y="4738255"/>
              <a:ext cx="902525" cy="131816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A1C14BDA-04ED-C1EF-5753-CFFDC118BA49}"/>
              </a:ext>
            </a:extLst>
          </p:cNvPr>
          <p:cNvSpPr/>
          <p:nvPr/>
        </p:nvSpPr>
        <p:spPr>
          <a:xfrm>
            <a:off x="2745355" y="1874617"/>
            <a:ext cx="539986" cy="528638"/>
          </a:xfrm>
          <a:prstGeom prst="round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E36D5B1-FAB2-FC47-40CC-CF069FFF04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5813" y="1563740"/>
            <a:ext cx="3406355" cy="1150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9261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7449FA-1CB5-9909-EC91-E2C3180C9CF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11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CDFCE5-53B4-E79F-10E4-2486AF229F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Analog quantum dynamics control</a:t>
            </a:r>
            <a:br>
              <a:rPr lang="en-US" dirty="0"/>
            </a:b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B40F0BDF-4F45-F0CE-B37A-014A6269BDBE}"/>
                  </a:ext>
                </a:extLst>
              </p:cNvPr>
              <p:cNvSpPr/>
              <p:nvPr/>
            </p:nvSpPr>
            <p:spPr>
              <a:xfrm>
                <a:off x="7368210" y="3856906"/>
                <a:ext cx="4525868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e>
                        <m:sub>
                          <m:r>
                            <a:rPr lang="en-US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sz="24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1∗</m:t>
                      </m:r>
                      <m:d>
                        <m:dPr>
                          <m:begChr m:val="|"/>
                          <m:endChr m:val=""/>
                          <m:ctrlPr>
                            <a:rPr lang="en-US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d>
                            <m:dPr>
                              <m:begChr m:val=""/>
                              <m:endChr m:val="⟩"/>
                              <m:ctrlPr>
                                <a:rPr lang="en-US" sz="24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d>
                        <m:dPr>
                          <m:begChr m:val="⟨"/>
                          <m:endChr m:val=""/>
                          <m:ctrlPr>
                            <a:rPr lang="en-US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d>
                            <m:dPr>
                              <m:begChr m:val=""/>
                              <m:endChr m:val="|"/>
                              <m:ctrlPr>
                                <a:rPr lang="en-US" sz="24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lang="en-US" sz="24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0∗</m:t>
                      </m:r>
                      <m:d>
                        <m:dPr>
                          <m:begChr m:val="|"/>
                          <m:endChr m:val=""/>
                          <m:ctrlPr>
                            <a:rPr lang="en-US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d>
                            <m:dPr>
                              <m:begChr m:val=""/>
                              <m:endChr m:val="⟩"/>
                              <m:ctrlPr>
                                <a:rPr lang="en-US" sz="24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sz="2400" b="0" i="0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g</m:t>
                                  </m:r>
                                </m:e>
                                <m:sub>
                                  <m:r>
                                    <a:rPr lang="en-US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d>
                        <m:dPr>
                          <m:begChr m:val="⟨"/>
                          <m:endChr m:val=""/>
                          <m:ctrlPr>
                            <a:rPr lang="en-US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d>
                            <m:dPr>
                              <m:begChr m:val=""/>
                              <m:endChr m:val="|"/>
                              <m:ctrlPr>
                                <a:rPr lang="en-US" sz="24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sz="2400" b="0" i="0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g</m:t>
                                  </m:r>
                                </m:e>
                                <m:sub>
                                  <m:r>
                                    <a:rPr lang="en-US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</m:d>
                    </m:oMath>
                  </m:oMathPara>
                </a14:m>
                <a:endParaRPr lang="en-US" sz="24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B40F0BDF-4F45-F0CE-B37A-014A6269BDB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68210" y="3856906"/>
                <a:ext cx="4525868" cy="461665"/>
              </a:xfrm>
              <a:prstGeom prst="rect">
                <a:avLst/>
              </a:prstGeom>
              <a:blipFill>
                <a:blip r:embed="rId2"/>
                <a:stretch>
                  <a:fillRect t="-124324" b="-194595"/>
                </a:stretch>
              </a:blipFill>
            </p:spPr>
            <p:txBody>
              <a:bodyPr/>
              <a:lstStyle/>
              <a:p>
                <a:r>
                  <a:rPr lang="en-IL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" name="Picture 1">
            <a:extLst>
              <a:ext uri="{FF2B5EF4-FFF2-40B4-BE49-F238E27FC236}">
                <a16:creationId xmlns:a16="http://schemas.microsoft.com/office/drawing/2014/main" id="{AA30330A-F7F6-0491-EF89-924AE983D1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68419" y="4434676"/>
            <a:ext cx="1413853" cy="461666"/>
          </a:xfrm>
          <a:prstGeom prst="rect">
            <a:avLst/>
          </a:prstGeom>
        </p:spPr>
      </p:pic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DD489DDD-83F0-45A2-DD5C-0106E8DFFD5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684" y="2871747"/>
            <a:ext cx="6477000" cy="3785544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49EEC3C0-B383-B2C1-5B02-4AA138FB0E75}"/>
              </a:ext>
            </a:extLst>
          </p:cNvPr>
          <p:cNvGrpSpPr/>
          <p:nvPr/>
        </p:nvGrpSpPr>
        <p:grpSpPr>
          <a:xfrm>
            <a:off x="472977" y="1630540"/>
            <a:ext cx="11180495" cy="1194301"/>
            <a:chOff x="472977" y="1630540"/>
            <a:chExt cx="11180495" cy="1194301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" name="Rectangle 5">
                  <a:extLst>
                    <a:ext uri="{FF2B5EF4-FFF2-40B4-BE49-F238E27FC236}">
                      <a16:creationId xmlns:a16="http://schemas.microsoft.com/office/drawing/2014/main" id="{643598E8-6BEA-1762-6E58-D5BEDD465AD4}"/>
                    </a:ext>
                  </a:extLst>
                </p:cNvPr>
                <p:cNvSpPr/>
                <p:nvPr/>
              </p:nvSpPr>
              <p:spPr>
                <a:xfrm>
                  <a:off x="472977" y="1630540"/>
                  <a:ext cx="11180495" cy="1194301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f>
                          <m:fPr>
                            <m:ctrlPr>
                              <a:rPr lang="en-US" sz="280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28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𝐻</m:t>
                            </m:r>
                          </m:num>
                          <m:den>
                            <m:r>
                              <a:rPr lang="en-US" sz="28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ℏ</m:t>
                            </m:r>
                          </m:den>
                        </m:f>
                        <m:r>
                          <a:rPr lang="en-US" sz="2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nary>
                          <m:naryPr>
                            <m:chr m:val="∑"/>
                            <m:supHide m:val="on"/>
                            <m:ctrlPr>
                              <a:rPr lang="en-US" sz="28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en-US" sz="28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  <m:sup/>
                          <m:e>
                            <m:f>
                              <m:fPr>
                                <m:ctrlPr>
                                  <a:rPr lang="en-US" sz="2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m:rPr>
                                    <m:sty m:val="p"/>
                                  </m:rPr>
                                  <a:rPr lang="en-US" sz="28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Ω</m:t>
                                </m:r>
                                <m:d>
                                  <m:dPr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</m:d>
                              </m:num>
                              <m:den>
                                <m:r>
                                  <a:rPr lang="en-US" sz="2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den>
                            </m:f>
                            <m:d>
                              <m:dPr>
                                <m:ctrlPr>
                                  <a:rPr lang="en-US" sz="2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p>
                                  <m:sSupPr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𝑒</m:t>
                                    </m:r>
                                  </m:e>
                                  <m:sup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  <m:r>
                                      <a:rPr lang="en-US" sz="28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𝜙</m:t>
                                    </m:r>
                                    <m:d>
                                      <m:dPr>
                                        <m:ctrlPr>
                                          <a:rPr lang="en-US" sz="28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sz="28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</m:d>
                                  </m:sup>
                                </m:sSup>
                                <m:d>
                                  <m:dPr>
                                    <m:begChr m:val="|"/>
                                    <m:endChr m:val=""/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d>
                                      <m:dPr>
                                        <m:begChr m:val=""/>
                                        <m:endChr m:val="⟩"/>
                                        <m:ctrlPr>
                                          <a:rPr lang="en-US" sz="28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sSub>
                                          <m:sSubPr>
                                            <m:ctrlPr>
                                              <a:rPr lang="en-US" sz="28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sz="2800" b="0" i="1" smtClean="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𝑔</m:t>
                                            </m:r>
                                          </m:e>
                                          <m:sub>
                                            <m:r>
                                              <a:rPr lang="en-US" sz="28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𝑖</m:t>
                                            </m:r>
                                          </m:sub>
                                        </m:sSub>
                                      </m:e>
                                    </m:d>
                                  </m:e>
                                </m:d>
                                <m:d>
                                  <m:dPr>
                                    <m:begChr m:val="⟨"/>
                                    <m:endChr m:val=""/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d>
                                      <m:dPr>
                                        <m:begChr m:val=""/>
                                        <m:endChr m:val="|"/>
                                        <m:ctrlPr>
                                          <a:rPr lang="en-US" sz="28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sSub>
                                          <m:sSubPr>
                                            <m:ctrlPr>
                                              <a:rPr lang="en-US" sz="28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sz="28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𝑟</m:t>
                                            </m:r>
                                          </m:e>
                                          <m:sub>
                                            <m:r>
                                              <a:rPr lang="en-US" sz="28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𝑖</m:t>
                                            </m:r>
                                          </m:sub>
                                        </m:sSub>
                                      </m:e>
                                    </m:d>
                                  </m:e>
                                </m:d>
                                <m:r>
                                  <a:rPr lang="en-US" sz="2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sSup>
                                  <m:sSupPr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𝑒</m:t>
                                    </m:r>
                                  </m:e>
                                  <m:sup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𝜙</m:t>
                                    </m:r>
                                    <m:d>
                                      <m:dPr>
                                        <m:ctrlPr>
                                          <a:rPr lang="en-US" sz="28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sz="28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</m:d>
                                  </m:sup>
                                </m:sSup>
                                <m:d>
                                  <m:dPr>
                                    <m:begChr m:val="|"/>
                                    <m:endChr m:val=""/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d>
                                      <m:dPr>
                                        <m:begChr m:val=""/>
                                        <m:endChr m:val="⟩"/>
                                        <m:ctrlPr>
                                          <a:rPr lang="en-US" sz="28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sSub>
                                          <m:sSubPr>
                                            <m:ctrlPr>
                                              <a:rPr lang="en-US" sz="28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sz="28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𝑟</m:t>
                                            </m:r>
                                          </m:e>
                                          <m:sub>
                                            <m:r>
                                              <a:rPr lang="en-US" sz="28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𝑖</m:t>
                                            </m:r>
                                          </m:sub>
                                        </m:sSub>
                                      </m:e>
                                    </m:d>
                                  </m:e>
                                </m:d>
                                <m:d>
                                  <m:dPr>
                                    <m:begChr m:val="⟨"/>
                                    <m:endChr m:val=""/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d>
                                      <m:dPr>
                                        <m:begChr m:val=""/>
                                        <m:endChr m:val="|"/>
                                        <m:ctrlPr>
                                          <a:rPr lang="en-US" sz="28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sSub>
                                          <m:sSubPr>
                                            <m:ctrlPr>
                                              <a:rPr lang="en-US" sz="28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sz="2800" b="0" i="1" smtClean="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𝑔</m:t>
                                            </m:r>
                                          </m:e>
                                          <m:sub>
                                            <m:r>
                                              <a:rPr lang="en-US" sz="28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𝑖</m:t>
                                            </m:r>
                                          </m:sub>
                                        </m:sSub>
                                      </m:e>
                                    </m:d>
                                  </m:e>
                                </m:d>
                              </m:e>
                            </m:d>
                            <m:r>
                              <a:rPr lang="en-US" sz="28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−</m:t>
                            </m:r>
                            <m:nary>
                              <m:naryPr>
                                <m:chr m:val="∑"/>
                                <m:supHide m:val="on"/>
                                <m:ctrlPr>
                                  <a:rPr lang="en-US" sz="2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a:rPr lang="en-US" sz="2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  <m:sup/>
                              <m:e>
                                <m:r>
                                  <m:rPr>
                                    <m:sty m:val="p"/>
                                  </m:rPr>
                                  <a:rPr lang="en-US" sz="2800" b="0" i="0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Δ</m:t>
                                </m:r>
                                <m:d>
                                  <m:dPr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</m:d>
                                <m:sSub>
                                  <m:sSubPr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sub>
                                </m:sSub>
                              </m:e>
                            </m:nary>
                            <m:r>
                              <a:rPr lang="en-US" sz="28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+</m:t>
                            </m:r>
                            <m:nary>
                              <m:naryPr>
                                <m:chr m:val="∑"/>
                                <m:supHide m:val="on"/>
                                <m:ctrlPr>
                                  <a:rPr lang="en-US" sz="2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a:rPr lang="en-US" sz="2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en-US" sz="2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&lt;</m:t>
                                </m:r>
                                <m:r>
                                  <a:rPr lang="en-US" sz="2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sub>
                              <m:sup/>
                              <m:e>
                                <m:sSub>
                                  <m:sSubPr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𝑉</m:t>
                                    </m:r>
                                  </m:e>
                                  <m:sub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𝑖𝑗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𝑗</m:t>
                                    </m:r>
                                  </m:sub>
                                </m:sSub>
                              </m:e>
                            </m:nary>
                          </m:e>
                        </m:nary>
                      </m:oMath>
                    </m:oMathPara>
                  </a14:m>
                  <a:br>
                    <a:rPr lang="en-US" sz="2400" dirty="0">
                      <a:solidFill>
                        <a:schemeClr val="tx1"/>
                      </a:solidFill>
                    </a:rPr>
                  </a:br>
                  <a:endParaRPr lang="en-US" sz="2400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6" name="Rectangle 5">
                  <a:extLst>
                    <a:ext uri="{FF2B5EF4-FFF2-40B4-BE49-F238E27FC236}">
                      <a16:creationId xmlns:a16="http://schemas.microsoft.com/office/drawing/2014/main" id="{643598E8-6BEA-1762-6E58-D5BEDD465AD4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72977" y="1630540"/>
                  <a:ext cx="11180495" cy="1194301"/>
                </a:xfrm>
                <a:prstGeom prst="rect">
                  <a:avLst/>
                </a:prstGeom>
                <a:blipFill>
                  <a:blip r:embed="rId5"/>
                  <a:stretch>
                    <a:fillRect l="-3178" t="-124211" b="-168421"/>
                  </a:stretch>
                </a:blipFill>
              </p:spPr>
              <p:txBody>
                <a:bodyPr/>
                <a:lstStyle/>
                <a:p>
                  <a:r>
                    <a:rPr lang="en-IL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A1BFCA9-DBB0-07C8-CEE9-D8595A36FACE}"/>
                </a:ext>
              </a:extLst>
            </p:cNvPr>
            <p:cNvSpPr/>
            <p:nvPr/>
          </p:nvSpPr>
          <p:spPr>
            <a:xfrm>
              <a:off x="542684" y="1630540"/>
              <a:ext cx="582106" cy="1003478"/>
            </a:xfrm>
            <a:prstGeom prst="rect">
              <a:avLst/>
            </a:prstGeom>
            <a:gradFill>
              <a:gsLst>
                <a:gs pos="100000">
                  <a:srgbClr val="FFFFFF"/>
                </a:gs>
                <a:gs pos="0">
                  <a:srgbClr val="FCF9FF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400" rtl="1" eaLnBrk="1" latinLnBrk="0" hangingPunct="1"/>
              <a:endParaRPr lang="en-US"/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69BFB12B-ED13-3C6D-69EC-80FEE2E4D7E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6235" y="1973529"/>
            <a:ext cx="393700" cy="31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34746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577A5D-42F9-E05E-2063-F9669C414FD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12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1A98163-F195-329F-FE2B-EDF1F0995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rdware constraints: Geometry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429D234-3909-9F72-0A78-C0D58BC2E7FA}"/>
              </a:ext>
            </a:extLst>
          </p:cNvPr>
          <p:cNvSpPr txBox="1"/>
          <p:nvPr/>
        </p:nvSpPr>
        <p:spPr>
          <a:xfrm>
            <a:off x="7562102" y="5946875"/>
            <a:ext cx="415364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bg2"/>
                </a:solidFill>
                <a:latin typeface="Radion B" panose="020B0502030000000004" pitchFamily="34" charset="0"/>
              </a:rPr>
              <a:t>More details @</a:t>
            </a:r>
          </a:p>
          <a:p>
            <a:r>
              <a:rPr lang="en-US" sz="1200" u="sng" dirty="0">
                <a:solidFill>
                  <a:schemeClr val="accent1"/>
                </a:solidFill>
                <a:latin typeface="Radion B Light" panose="020B0402030000000004" pitchFamily="34" charset="0"/>
              </a:rPr>
              <a:t>https://</a:t>
            </a:r>
            <a:r>
              <a:rPr lang="en-US" sz="1200" u="sng" dirty="0" err="1">
                <a:solidFill>
                  <a:schemeClr val="accent1"/>
                </a:solidFill>
                <a:latin typeface="Radion B Light" panose="020B0402030000000004" pitchFamily="34" charset="0"/>
              </a:rPr>
              <a:t>queracomputing.github.io</a:t>
            </a:r>
            <a:r>
              <a:rPr lang="en-US" sz="1200" u="sng" dirty="0">
                <a:solidFill>
                  <a:schemeClr val="accent1"/>
                </a:solidFill>
                <a:latin typeface="Radion B Light" panose="020B0402030000000004" pitchFamily="34" charset="0"/>
              </a:rPr>
              <a:t>/</a:t>
            </a:r>
            <a:r>
              <a:rPr lang="en-US" sz="1200" u="sng" dirty="0" err="1">
                <a:solidFill>
                  <a:schemeClr val="accent1"/>
                </a:solidFill>
                <a:latin typeface="Radion B Light" panose="020B0402030000000004" pitchFamily="34" charset="0"/>
              </a:rPr>
              <a:t>Bloqade.jl</a:t>
            </a:r>
            <a:r>
              <a:rPr lang="en-US" sz="1200" u="sng" dirty="0">
                <a:solidFill>
                  <a:schemeClr val="accent1"/>
                </a:solidFill>
                <a:latin typeface="Radion B Light" panose="020B0402030000000004" pitchFamily="34" charset="0"/>
              </a:rPr>
              <a:t>/dev/capabilities/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84F5869F-2A9B-1571-E5CA-C3F8A4AA0831}"/>
              </a:ext>
            </a:extLst>
          </p:cNvPr>
          <p:cNvGrpSpPr/>
          <p:nvPr/>
        </p:nvGrpSpPr>
        <p:grpSpPr>
          <a:xfrm>
            <a:off x="3236068" y="5195420"/>
            <a:ext cx="4743450" cy="380687"/>
            <a:chOff x="1228725" y="5895738"/>
            <a:chExt cx="4743450" cy="380687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26816D3C-E778-3B6F-421D-2623C3D5078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28725" y="5895738"/>
              <a:ext cx="4743450" cy="0"/>
            </a:xfrm>
            <a:prstGeom prst="line">
              <a:avLst/>
            </a:prstGeom>
            <a:ln>
              <a:solidFill>
                <a:schemeClr val="bg2"/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EAEEBB17-A998-128B-4442-6FE757A7F0C2}"/>
                </a:ext>
              </a:extLst>
            </p:cNvPr>
            <p:cNvGrpSpPr/>
            <p:nvPr/>
          </p:nvGrpSpPr>
          <p:grpSpPr>
            <a:xfrm>
              <a:off x="2547089" y="5965280"/>
              <a:ext cx="1686172" cy="311145"/>
              <a:chOff x="2547089" y="5965280"/>
              <a:chExt cx="1686172" cy="311145"/>
            </a:xfrm>
          </p:grpSpPr>
          <p:pic>
            <p:nvPicPr>
              <p:cNvPr id="26" name="Picture 25">
                <a:extLst>
                  <a:ext uri="{FF2B5EF4-FFF2-40B4-BE49-F238E27FC236}">
                    <a16:creationId xmlns:a16="http://schemas.microsoft.com/office/drawing/2014/main" id="{ED2F85E8-168F-1A6F-68D6-5809A89D02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356398" y="5965280"/>
                <a:ext cx="876863" cy="311145"/>
              </a:xfrm>
              <a:prstGeom prst="rect">
                <a:avLst/>
              </a:prstGeom>
            </p:spPr>
          </p:pic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A63B32C9-BC70-F913-5496-574654D6A1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547089" y="6029943"/>
                <a:ext cx="668324" cy="164660"/>
              </a:xfrm>
              <a:prstGeom prst="rect">
                <a:avLst/>
              </a:prstGeom>
            </p:spPr>
          </p:pic>
        </p:grp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3DEF0BA5-3E7F-3C2E-D66B-C9C730906081}"/>
              </a:ext>
            </a:extLst>
          </p:cNvPr>
          <p:cNvGrpSpPr/>
          <p:nvPr/>
        </p:nvGrpSpPr>
        <p:grpSpPr>
          <a:xfrm>
            <a:off x="2403161" y="1459556"/>
            <a:ext cx="418569" cy="3412652"/>
            <a:chOff x="395818" y="2159874"/>
            <a:chExt cx="418569" cy="3412652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63D7658-A8FA-FF83-834B-C7F104ACC442}"/>
                </a:ext>
              </a:extLst>
            </p:cNvPr>
            <p:cNvCxnSpPr/>
            <p:nvPr/>
          </p:nvCxnSpPr>
          <p:spPr>
            <a:xfrm>
              <a:off x="814387" y="2159874"/>
              <a:ext cx="0" cy="3412652"/>
            </a:xfrm>
            <a:prstGeom prst="line">
              <a:avLst/>
            </a:prstGeom>
            <a:ln>
              <a:solidFill>
                <a:schemeClr val="bg2"/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890D2BC6-EDBD-556A-2802-F828F3A30103}"/>
                </a:ext>
              </a:extLst>
            </p:cNvPr>
            <p:cNvGrpSpPr/>
            <p:nvPr/>
          </p:nvGrpSpPr>
          <p:grpSpPr>
            <a:xfrm>
              <a:off x="395818" y="3172564"/>
              <a:ext cx="311486" cy="1680242"/>
              <a:chOff x="395818" y="3172564"/>
              <a:chExt cx="311486" cy="1680242"/>
            </a:xfrm>
          </p:grpSpPr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90C224CD-DC13-C128-67BC-12721DEE62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16200000">
                <a:off x="112649" y="3455733"/>
                <a:ext cx="877824" cy="311486"/>
              </a:xfrm>
              <a:prstGeom prst="rect">
                <a:avLst/>
              </a:prstGeom>
            </p:spPr>
          </p:pic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6F09F0EA-7C7E-B85F-8396-37EA4CA19CD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 rot="16200000">
                <a:off x="223300" y="4436485"/>
                <a:ext cx="668050" cy="164592"/>
              </a:xfrm>
              <a:prstGeom prst="rect">
                <a:avLst/>
              </a:prstGeom>
            </p:spPr>
          </p:pic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6365D6BE-E728-5A66-4BBE-2019ED31C1C4}"/>
              </a:ext>
            </a:extLst>
          </p:cNvPr>
          <p:cNvGrpSpPr/>
          <p:nvPr/>
        </p:nvGrpSpPr>
        <p:grpSpPr>
          <a:xfrm>
            <a:off x="3178918" y="1364981"/>
            <a:ext cx="5515909" cy="3383771"/>
            <a:chOff x="1464418" y="1486872"/>
            <a:chExt cx="5515909" cy="3383771"/>
          </a:xfrm>
        </p:grpSpPr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152AD2B5-E149-16D2-6896-524EFEF6917A}"/>
                </a:ext>
              </a:extLst>
            </p:cNvPr>
            <p:cNvGrpSpPr/>
            <p:nvPr/>
          </p:nvGrpSpPr>
          <p:grpSpPr>
            <a:xfrm>
              <a:off x="6388843" y="3887590"/>
              <a:ext cx="353903" cy="983053"/>
              <a:chOff x="6096000" y="4466017"/>
              <a:chExt cx="353903" cy="983053"/>
            </a:xfrm>
          </p:grpSpPr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F7FBC34B-D2A3-E6A4-2262-37D32B92BC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rot="16200000">
                <a:off x="5843338" y="4842506"/>
                <a:ext cx="983053" cy="230076"/>
              </a:xfrm>
              <a:prstGeom prst="rect">
                <a:avLst/>
              </a:prstGeom>
            </p:spPr>
          </p:pic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F1F2AD4C-1ED3-2F0E-6806-41CDF0B60D7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096000" y="4601193"/>
                <a:ext cx="0" cy="714375"/>
              </a:xfrm>
              <a:prstGeom prst="line">
                <a:avLst/>
              </a:prstGeom>
              <a:ln>
                <a:solidFill>
                  <a:schemeClr val="bg2"/>
                </a:solidFill>
                <a:headEnd type="oval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8460CCE-183A-6043-EDC0-B9F384E4BB93}"/>
                </a:ext>
              </a:extLst>
            </p:cNvPr>
            <p:cNvGrpSpPr/>
            <p:nvPr/>
          </p:nvGrpSpPr>
          <p:grpSpPr>
            <a:xfrm>
              <a:off x="1464418" y="1486872"/>
              <a:ext cx="5515909" cy="3250269"/>
              <a:chOff x="1171575" y="2065299"/>
              <a:chExt cx="5515909" cy="3250269"/>
            </a:xfrm>
          </p:grpSpPr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2DD9618A-ED93-24E7-1B03-BECEA3F5A6CD}"/>
                  </a:ext>
                </a:extLst>
              </p:cNvPr>
              <p:cNvGrpSpPr/>
              <p:nvPr/>
            </p:nvGrpSpPr>
            <p:grpSpPr>
              <a:xfrm>
                <a:off x="1171575" y="2700955"/>
                <a:ext cx="4800600" cy="2614613"/>
                <a:chOff x="1171575" y="2700955"/>
                <a:chExt cx="4800600" cy="2614613"/>
              </a:xfrm>
            </p:grpSpPr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E18A582F-EF41-EC7E-8C3B-715FF75399AA}"/>
                    </a:ext>
                  </a:extLst>
                </p:cNvPr>
                <p:cNvCxnSpPr/>
                <p:nvPr/>
              </p:nvCxnSpPr>
              <p:spPr>
                <a:xfrm>
                  <a:off x="1185863" y="4601193"/>
                  <a:ext cx="4786312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Straight Connector 17">
                  <a:extLst>
                    <a:ext uri="{FF2B5EF4-FFF2-40B4-BE49-F238E27FC236}">
                      <a16:creationId xmlns:a16="http://schemas.microsoft.com/office/drawing/2014/main" id="{47D05AE5-9F0A-5934-F23D-01E5BAE7429A}"/>
                    </a:ext>
                  </a:extLst>
                </p:cNvPr>
                <p:cNvCxnSpPr/>
                <p:nvPr/>
              </p:nvCxnSpPr>
              <p:spPr>
                <a:xfrm>
                  <a:off x="1171575" y="3686793"/>
                  <a:ext cx="4786312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Straight Connector 18">
                  <a:extLst>
                    <a:ext uri="{FF2B5EF4-FFF2-40B4-BE49-F238E27FC236}">
                      <a16:creationId xmlns:a16="http://schemas.microsoft.com/office/drawing/2014/main" id="{DE929CF5-92AB-B648-9DAE-DCB6BFE53CD7}"/>
                    </a:ext>
                  </a:extLst>
                </p:cNvPr>
                <p:cNvCxnSpPr/>
                <p:nvPr/>
              </p:nvCxnSpPr>
              <p:spPr>
                <a:xfrm>
                  <a:off x="1171575" y="2700955"/>
                  <a:ext cx="4786312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35ED6A65-F719-992C-4364-402CAAB1EE03}"/>
                    </a:ext>
                  </a:extLst>
                </p:cNvPr>
                <p:cNvCxnSpPr/>
                <p:nvPr/>
              </p:nvCxnSpPr>
              <p:spPr>
                <a:xfrm>
                  <a:off x="1185863" y="5315568"/>
                  <a:ext cx="4786312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C72F5E29-2F2C-6B92-FCF3-3A781899ADCA}"/>
                  </a:ext>
                </a:extLst>
              </p:cNvPr>
              <p:cNvGrpSpPr/>
              <p:nvPr/>
            </p:nvGrpSpPr>
            <p:grpSpPr>
              <a:xfrm>
                <a:off x="5972175" y="2065299"/>
                <a:ext cx="715309" cy="2535894"/>
                <a:chOff x="5972175" y="2065299"/>
                <a:chExt cx="715309" cy="2535894"/>
              </a:xfrm>
            </p:grpSpPr>
            <p:cxnSp>
              <p:nvCxnSpPr>
                <p:cNvPr id="47" name="Straight Arrow Connector 46">
                  <a:extLst>
                    <a:ext uri="{FF2B5EF4-FFF2-40B4-BE49-F238E27FC236}">
                      <a16:creationId xmlns:a16="http://schemas.microsoft.com/office/drawing/2014/main" id="{2C791BB7-F06E-2E70-F620-C497DAEA6DDC}"/>
                    </a:ext>
                  </a:extLst>
                </p:cNvPr>
                <p:cNvCxnSpPr/>
                <p:nvPr/>
              </p:nvCxnSpPr>
              <p:spPr>
                <a:xfrm flipH="1">
                  <a:off x="5972175" y="2716800"/>
                  <a:ext cx="477728" cy="964822"/>
                </a:xfrm>
                <a:prstGeom prst="straightConnector1">
                  <a:avLst/>
                </a:prstGeom>
                <a:ln>
                  <a:solidFill>
                    <a:schemeClr val="bg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Straight Arrow Connector 48">
                  <a:extLst>
                    <a:ext uri="{FF2B5EF4-FFF2-40B4-BE49-F238E27FC236}">
                      <a16:creationId xmlns:a16="http://schemas.microsoft.com/office/drawing/2014/main" id="{51123AC5-6EB1-A81B-E922-1374A791069B}"/>
                    </a:ext>
                  </a:extLst>
                </p:cNvPr>
                <p:cNvCxnSpPr/>
                <p:nvPr/>
              </p:nvCxnSpPr>
              <p:spPr>
                <a:xfrm flipH="1" flipV="1">
                  <a:off x="5998673" y="2700955"/>
                  <a:ext cx="451230" cy="15845"/>
                </a:xfrm>
                <a:prstGeom prst="straightConnector1">
                  <a:avLst/>
                </a:prstGeom>
                <a:ln>
                  <a:solidFill>
                    <a:schemeClr val="bg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Straight Arrow Connector 49">
                  <a:extLst>
                    <a:ext uri="{FF2B5EF4-FFF2-40B4-BE49-F238E27FC236}">
                      <a16:creationId xmlns:a16="http://schemas.microsoft.com/office/drawing/2014/main" id="{B4F7BDA9-DCD9-C934-B906-CECE7B7BED4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5972175" y="2732645"/>
                  <a:ext cx="477728" cy="1868548"/>
                </a:xfrm>
                <a:prstGeom prst="straightConnector1">
                  <a:avLst/>
                </a:prstGeom>
                <a:ln>
                  <a:solidFill>
                    <a:schemeClr val="bg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3" name="TextBox 52">
                  <a:extLst>
                    <a:ext uri="{FF2B5EF4-FFF2-40B4-BE49-F238E27FC236}">
                      <a16:creationId xmlns:a16="http://schemas.microsoft.com/office/drawing/2014/main" id="{382EF343-EF78-A4C9-2985-1A513C10E94B}"/>
                    </a:ext>
                  </a:extLst>
                </p:cNvPr>
                <p:cNvSpPr txBox="1"/>
                <p:nvPr/>
              </p:nvSpPr>
              <p:spPr>
                <a:xfrm rot="2700000">
                  <a:off x="6016306" y="2521033"/>
                  <a:ext cx="1126912" cy="215444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l"/>
                  <a:r>
                    <a:rPr lang="en-US" sz="1400" dirty="0">
                      <a:solidFill>
                        <a:schemeClr val="bg2"/>
                      </a:solidFill>
                      <a:latin typeface="Radion B" panose="020B0502030000000004" pitchFamily="34" charset="0"/>
                    </a:rPr>
                    <a:t>Always in rows</a:t>
                  </a:r>
                </a:p>
              </p:txBody>
            </p:sp>
          </p:grpSp>
        </p:grpSp>
      </p:grpSp>
      <p:pic>
        <p:nvPicPr>
          <p:cNvPr id="64" name="Picture 63">
            <a:extLst>
              <a:ext uri="{FF2B5EF4-FFF2-40B4-BE49-F238E27FC236}">
                <a16:creationId xmlns:a16="http://schemas.microsoft.com/office/drawing/2014/main" id="{82EE15B2-BD82-656C-BE7A-74381E80A4F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71846" y="5338954"/>
            <a:ext cx="1420063" cy="251469"/>
          </a:xfrm>
          <a:prstGeom prst="rect">
            <a:avLst/>
          </a:prstGeom>
        </p:spPr>
      </p:pic>
      <p:grpSp>
        <p:nvGrpSpPr>
          <p:cNvPr id="66" name="Group 65">
            <a:extLst>
              <a:ext uri="{FF2B5EF4-FFF2-40B4-BE49-F238E27FC236}">
                <a16:creationId xmlns:a16="http://schemas.microsoft.com/office/drawing/2014/main" id="{FD1F5198-7958-8381-8837-AFA36110ACF8}"/>
              </a:ext>
            </a:extLst>
          </p:cNvPr>
          <p:cNvGrpSpPr/>
          <p:nvPr/>
        </p:nvGrpSpPr>
        <p:grpSpPr>
          <a:xfrm>
            <a:off x="3671913" y="1699988"/>
            <a:ext cx="696066" cy="1040540"/>
            <a:chOff x="1664570" y="2264840"/>
            <a:chExt cx="696066" cy="1040540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2EE4598F-E36D-459B-D03B-A762A077777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051485" y="2822110"/>
              <a:ext cx="309151" cy="483270"/>
            </a:xfrm>
            <a:prstGeom prst="line">
              <a:avLst/>
            </a:prstGeom>
            <a:ln>
              <a:solidFill>
                <a:schemeClr val="bg2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CBDB3CE0-BA91-ECAC-9081-2E86FAA284B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18043291">
              <a:off x="1288081" y="2641329"/>
              <a:ext cx="983053" cy="230076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8345876-1448-E64B-B783-B7D92AED5066}"/>
              </a:ext>
            </a:extLst>
          </p:cNvPr>
          <p:cNvGrpSpPr/>
          <p:nvPr/>
        </p:nvGrpSpPr>
        <p:grpSpPr>
          <a:xfrm>
            <a:off x="3477544" y="1675973"/>
            <a:ext cx="3891658" cy="3262272"/>
            <a:chOff x="239032" y="1950745"/>
            <a:chExt cx="2906297" cy="2436270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174A79A-0497-BD5C-9953-7588587420EF}"/>
                </a:ext>
              </a:extLst>
            </p:cNvPr>
            <p:cNvSpPr/>
            <p:nvPr/>
          </p:nvSpPr>
          <p:spPr>
            <a:xfrm>
              <a:off x="829530" y="1950745"/>
              <a:ext cx="508585" cy="50858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chemeClr val="bg2"/>
                  </a:solidFill>
                </a:rPr>
                <a:t>1</a:t>
              </a: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B525C6E8-FBEC-5AAF-6E82-2DA8552EE20F}"/>
                </a:ext>
              </a:extLst>
            </p:cNvPr>
            <p:cNvSpPr/>
            <p:nvPr/>
          </p:nvSpPr>
          <p:spPr>
            <a:xfrm>
              <a:off x="1755801" y="1950745"/>
              <a:ext cx="508585" cy="50858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chemeClr val="bg2"/>
                  </a:solidFill>
                </a:rPr>
                <a:t>2</a:t>
              </a: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2E337-644B-D6A4-0AAD-80B4E1D8A38E}"/>
                </a:ext>
              </a:extLst>
            </p:cNvPr>
            <p:cNvSpPr/>
            <p:nvPr/>
          </p:nvSpPr>
          <p:spPr>
            <a:xfrm>
              <a:off x="2636744" y="1950745"/>
              <a:ext cx="508585" cy="50858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chemeClr val="bg2"/>
                  </a:solidFill>
                </a:rPr>
                <a:t>3</a:t>
              </a: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3AA39F6-A0FC-0164-DDFF-EB63631136B5}"/>
                </a:ext>
              </a:extLst>
            </p:cNvPr>
            <p:cNvSpPr/>
            <p:nvPr/>
          </p:nvSpPr>
          <p:spPr>
            <a:xfrm>
              <a:off x="239032" y="2671276"/>
              <a:ext cx="508585" cy="50858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bg2"/>
                  </a:solidFill>
                </a:rPr>
                <a:t>4</a:t>
              </a: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F51E9A0E-1E47-40F4-49E0-7DD9FCC797FE}"/>
                </a:ext>
              </a:extLst>
            </p:cNvPr>
            <p:cNvSpPr/>
            <p:nvPr/>
          </p:nvSpPr>
          <p:spPr>
            <a:xfrm>
              <a:off x="1187261" y="2660607"/>
              <a:ext cx="508585" cy="50858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chemeClr val="bg2"/>
                  </a:solidFill>
                </a:rPr>
                <a:t>5</a:t>
              </a: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6A5B3371-0717-86DE-336E-E62FBE6A0C5B}"/>
                </a:ext>
              </a:extLst>
            </p:cNvPr>
            <p:cNvSpPr/>
            <p:nvPr/>
          </p:nvSpPr>
          <p:spPr>
            <a:xfrm>
              <a:off x="2193920" y="2671276"/>
              <a:ext cx="508585" cy="50858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chemeClr val="bg2"/>
                  </a:solidFill>
                </a:rPr>
                <a:t>6</a:t>
              </a: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68684D30-4C45-0695-C524-9F0E9BBCCE96}"/>
                </a:ext>
              </a:extLst>
            </p:cNvPr>
            <p:cNvSpPr/>
            <p:nvPr/>
          </p:nvSpPr>
          <p:spPr>
            <a:xfrm>
              <a:off x="743175" y="3878430"/>
              <a:ext cx="508585" cy="50858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chemeClr val="bg2"/>
                  </a:solidFill>
                </a:rPr>
                <a:t>7</a:t>
              </a: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9996E056-06FE-45B4-B555-BB9F93ACA941}"/>
                </a:ext>
              </a:extLst>
            </p:cNvPr>
            <p:cNvSpPr/>
            <p:nvPr/>
          </p:nvSpPr>
          <p:spPr>
            <a:xfrm>
              <a:off x="1685335" y="3370469"/>
              <a:ext cx="508585" cy="50858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chemeClr val="bg2"/>
                  </a:solidFill>
                </a:rPr>
                <a:t>8</a:t>
              </a: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296C9710-EE97-96C0-02D6-74CE0F64986A}"/>
                </a:ext>
              </a:extLst>
            </p:cNvPr>
            <p:cNvSpPr/>
            <p:nvPr/>
          </p:nvSpPr>
          <p:spPr>
            <a:xfrm>
              <a:off x="2636744" y="3370469"/>
              <a:ext cx="508585" cy="50858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chemeClr val="bg2"/>
                  </a:solidFill>
                </a:rPr>
                <a:t>9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377546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577A5D-42F9-E05E-2063-F9669C414FD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13</a:t>
            </a:fld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17B0E5-023E-AC3F-F274-E22504DF74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3529" y="1089765"/>
            <a:ext cx="10515600" cy="394569"/>
          </a:xfrm>
        </p:spPr>
        <p:txBody>
          <a:bodyPr>
            <a:normAutofit/>
          </a:bodyPr>
          <a:lstStyle/>
          <a:p>
            <a:pPr marL="4763" lvl="2" indent="-4763">
              <a:buNone/>
              <a:tabLst>
                <a:tab pos="290513" algn="l"/>
              </a:tabLst>
            </a:pPr>
            <a:r>
              <a:rPr lang="en-US" b="1" dirty="0">
                <a:solidFill>
                  <a:schemeClr val="bg2"/>
                </a:solidFill>
                <a:latin typeface="Radion B Demi" panose="020B0502030000000004" pitchFamily="34" charset="0"/>
              </a:rPr>
              <a:t>Activity: </a:t>
            </a:r>
            <a:r>
              <a:rPr lang="en-US" dirty="0">
                <a:solidFill>
                  <a:schemeClr val="accent1"/>
                </a:solidFill>
                <a:latin typeface="Radion B" panose="020B0502030000000004" pitchFamily="34" charset="0"/>
              </a:rPr>
              <a:t>Encoding waveforms on </a:t>
            </a:r>
            <a:r>
              <a:rPr lang="en-US" dirty="0" err="1">
                <a:solidFill>
                  <a:schemeClr val="accent1"/>
                </a:solidFill>
                <a:latin typeface="Radion B" panose="020B0502030000000004" pitchFamily="34" charset="0"/>
              </a:rPr>
              <a:t>Bloqade</a:t>
            </a:r>
            <a:endParaRPr lang="en-US" dirty="0">
              <a:solidFill>
                <a:schemeClr val="accent1"/>
              </a:solidFill>
              <a:latin typeface="Radion B" panose="020B0502030000000004" pitchFamily="34" charset="0"/>
            </a:endParaRPr>
          </a:p>
          <a:p>
            <a:pPr marL="380990" marR="0" indent="-380990" algn="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IL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1A98163-F195-329F-FE2B-EDF1F0995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rdware constraints: dynamics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722E761-5F9C-637D-DC55-5CB974B72DD0}"/>
              </a:ext>
            </a:extLst>
          </p:cNvPr>
          <p:cNvGrpSpPr/>
          <p:nvPr/>
        </p:nvGrpSpPr>
        <p:grpSpPr>
          <a:xfrm>
            <a:off x="6948262" y="5612640"/>
            <a:ext cx="2720671" cy="653609"/>
            <a:chOff x="6948262" y="5913264"/>
            <a:chExt cx="2720671" cy="653609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2BF9FC82-9405-CEF5-8EE7-6048F9C412AF}"/>
                </a:ext>
              </a:extLst>
            </p:cNvPr>
            <p:cNvSpPr txBox="1"/>
            <p:nvPr/>
          </p:nvSpPr>
          <p:spPr>
            <a:xfrm>
              <a:off x="6948262" y="6289874"/>
              <a:ext cx="1926810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dirty="0">
                  <a:solidFill>
                    <a:schemeClr val="bg2"/>
                  </a:solidFill>
                  <a:latin typeface="Radion B" panose="020B0502030000000004" pitchFamily="34" charset="0"/>
                </a:rPr>
                <a:t>Piecewise-constant</a:t>
              </a:r>
            </a:p>
          </p:txBody>
        </p: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EACC9E18-59DA-1CDC-6A73-3EAB47C7731A}"/>
                </a:ext>
              </a:extLst>
            </p:cNvPr>
            <p:cNvCxnSpPr>
              <a:cxnSpLocks/>
              <a:stCxn id="32" idx="3"/>
            </p:cNvCxnSpPr>
            <p:nvPr/>
          </p:nvCxnSpPr>
          <p:spPr>
            <a:xfrm flipV="1">
              <a:off x="8875072" y="5913264"/>
              <a:ext cx="793861" cy="515110"/>
            </a:xfrm>
            <a:prstGeom prst="straightConnector1">
              <a:avLst/>
            </a:prstGeom>
            <a:ln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BDBF0864-B1ED-A0E6-FBDB-0B330CDD94F4}"/>
              </a:ext>
            </a:extLst>
          </p:cNvPr>
          <p:cNvGrpSpPr/>
          <p:nvPr/>
        </p:nvGrpSpPr>
        <p:grpSpPr>
          <a:xfrm>
            <a:off x="2726267" y="1858794"/>
            <a:ext cx="3234266" cy="1269582"/>
            <a:chOff x="2726267" y="2035760"/>
            <a:chExt cx="3234266" cy="1393240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08AE3C0-D395-BB0D-1A7C-46CCE90837D3}"/>
                </a:ext>
              </a:extLst>
            </p:cNvPr>
            <p:cNvSpPr txBox="1"/>
            <p:nvPr/>
          </p:nvSpPr>
          <p:spPr>
            <a:xfrm>
              <a:off x="3107217" y="2035760"/>
              <a:ext cx="1611018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dirty="0">
                  <a:solidFill>
                    <a:schemeClr val="bg2"/>
                  </a:solidFill>
                  <a:latin typeface="Radion B" panose="020B0502030000000004" pitchFamily="34" charset="0"/>
                </a:rPr>
                <a:t>Piecewise-linear</a:t>
              </a:r>
            </a:p>
          </p:txBody>
        </p: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51A4ACA9-C38D-0604-6F67-24396F7CE286}"/>
                </a:ext>
              </a:extLst>
            </p:cNvPr>
            <p:cNvCxnSpPr>
              <a:stCxn id="31" idx="2"/>
            </p:cNvCxnSpPr>
            <p:nvPr/>
          </p:nvCxnSpPr>
          <p:spPr>
            <a:xfrm flipH="1">
              <a:off x="2726267" y="2312759"/>
              <a:ext cx="1186459" cy="548974"/>
            </a:xfrm>
            <a:prstGeom prst="straightConnector1">
              <a:avLst/>
            </a:prstGeom>
            <a:ln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9E167945-040B-03E9-8556-601F2686B69D}"/>
                </a:ext>
              </a:extLst>
            </p:cNvPr>
            <p:cNvCxnSpPr>
              <a:cxnSpLocks/>
              <a:stCxn id="31" idx="2"/>
            </p:cNvCxnSpPr>
            <p:nvPr/>
          </p:nvCxnSpPr>
          <p:spPr>
            <a:xfrm>
              <a:off x="3912726" y="2312759"/>
              <a:ext cx="2047807" cy="1116241"/>
            </a:xfrm>
            <a:prstGeom prst="straightConnector1">
              <a:avLst/>
            </a:prstGeom>
            <a:ln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3BA85B54-C4B5-0C95-41D8-0DDA1D5BD5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9063" y="2395653"/>
            <a:ext cx="876300" cy="21590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1C9218E7-FBEF-4C69-39C0-1BE0028FDD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2932" y="2395653"/>
            <a:ext cx="876300" cy="215900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E98CBE4E-4692-4781-D9FD-2545DB27E9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60298" y="5938541"/>
            <a:ext cx="1904855" cy="361266"/>
          </a:xfrm>
          <a:prstGeom prst="rect">
            <a:avLst/>
          </a:prstGeom>
        </p:spPr>
      </p:pic>
      <p:pic>
        <p:nvPicPr>
          <p:cNvPr id="63" name="Graphic 62">
            <a:extLst>
              <a:ext uri="{FF2B5EF4-FFF2-40B4-BE49-F238E27FC236}">
                <a16:creationId xmlns:a16="http://schemas.microsoft.com/office/drawing/2014/main" id="{FDAC8112-94CD-03C7-4099-9C0A9AB1EF5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7843" r="8061"/>
          <a:stretch/>
        </p:blipFill>
        <p:spPr>
          <a:xfrm>
            <a:off x="397368" y="2352189"/>
            <a:ext cx="10951969" cy="3064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010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F54EF7-406F-1C2D-B280-D800DEFB9A2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14</a:t>
            </a:fld>
            <a:endParaRPr lang="en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D527415-6D9E-E06A-F229-5A55F9AC6E7F}"/>
              </a:ext>
            </a:extLst>
          </p:cNvPr>
          <p:cNvGrpSpPr/>
          <p:nvPr/>
        </p:nvGrpSpPr>
        <p:grpSpPr>
          <a:xfrm>
            <a:off x="6266727" y="1576097"/>
            <a:ext cx="1915578" cy="2798612"/>
            <a:chOff x="4657137" y="4060392"/>
            <a:chExt cx="1209145" cy="1766531"/>
          </a:xfrm>
        </p:grpSpPr>
        <p:pic>
          <p:nvPicPr>
            <p:cNvPr id="6" name="Picture 5" descr="Shape&#10;&#10;Description automatically generated">
              <a:extLst>
                <a:ext uri="{FF2B5EF4-FFF2-40B4-BE49-F238E27FC236}">
                  <a16:creationId xmlns:a16="http://schemas.microsoft.com/office/drawing/2014/main" id="{6F944A5B-F75E-5B8D-7D2B-2F7A6CD4A97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98679" y="4060392"/>
              <a:ext cx="809660" cy="1766531"/>
            </a:xfrm>
            <a:prstGeom prst="rect">
              <a:avLst/>
            </a:prstGeom>
          </p:spPr>
        </p:pic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7C35138F-9367-72EB-644C-D30F89B0C0D7}"/>
                </a:ext>
              </a:extLst>
            </p:cNvPr>
            <p:cNvSpPr/>
            <p:nvPr/>
          </p:nvSpPr>
          <p:spPr>
            <a:xfrm>
              <a:off x="4657137" y="4333310"/>
              <a:ext cx="1209145" cy="1209145"/>
            </a:xfrm>
            <a:prstGeom prst="ellipse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56E3FC2-0F55-CD44-58AC-44989998F241}"/>
              </a:ext>
            </a:extLst>
          </p:cNvPr>
          <p:cNvGrpSpPr/>
          <p:nvPr/>
        </p:nvGrpSpPr>
        <p:grpSpPr>
          <a:xfrm>
            <a:off x="8465849" y="1597029"/>
            <a:ext cx="1915578" cy="2798612"/>
            <a:chOff x="5623371" y="4054310"/>
            <a:chExt cx="1209145" cy="1766531"/>
          </a:xfrm>
        </p:grpSpPr>
        <p:pic>
          <p:nvPicPr>
            <p:cNvPr id="9" name="Picture 8" descr="Shape&#10;&#10;Description automatically generated">
              <a:extLst>
                <a:ext uri="{FF2B5EF4-FFF2-40B4-BE49-F238E27FC236}">
                  <a16:creationId xmlns:a16="http://schemas.microsoft.com/office/drawing/2014/main" id="{F31A05CE-F18E-F6D9-D78D-9C1EA53E34C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44066" y="4054310"/>
              <a:ext cx="809660" cy="1766531"/>
            </a:xfrm>
            <a:prstGeom prst="rect">
              <a:avLst/>
            </a:prstGeom>
          </p:spPr>
        </p:pic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2CCB09B9-3747-4A71-03B2-2383065BB08C}"/>
                </a:ext>
              </a:extLst>
            </p:cNvPr>
            <p:cNvSpPr/>
            <p:nvPr/>
          </p:nvSpPr>
          <p:spPr>
            <a:xfrm>
              <a:off x="5623371" y="4330624"/>
              <a:ext cx="1209145" cy="1209145"/>
            </a:xfrm>
            <a:prstGeom prst="ellipse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429863D-888B-0C9E-B44A-2853DD9699FE}"/>
              </a:ext>
            </a:extLst>
          </p:cNvPr>
          <p:cNvGrpSpPr/>
          <p:nvPr/>
        </p:nvGrpSpPr>
        <p:grpSpPr>
          <a:xfrm>
            <a:off x="2161341" y="2388052"/>
            <a:ext cx="2513621" cy="469900"/>
            <a:chOff x="2704658" y="3002170"/>
            <a:chExt cx="2513621" cy="469900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9A5870D4-8290-2A5A-3206-0487AADF452E}"/>
                </a:ext>
              </a:extLst>
            </p:cNvPr>
            <p:cNvCxnSpPr>
              <a:cxnSpLocks/>
            </p:cNvCxnSpPr>
            <p:nvPr/>
          </p:nvCxnSpPr>
          <p:spPr>
            <a:xfrm>
              <a:off x="2704658" y="3280061"/>
              <a:ext cx="1117600" cy="0"/>
            </a:xfrm>
            <a:prstGeom prst="line">
              <a:avLst/>
            </a:prstGeom>
            <a:ln w="381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9119C815-6188-0E21-7F01-854AA670B00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70579" y="3002170"/>
              <a:ext cx="647700" cy="469900"/>
            </a:xfrm>
            <a:prstGeom prst="rect">
              <a:avLst/>
            </a:prstGeom>
          </p:spPr>
        </p:pic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B5730120-09B3-1B3D-203D-BBAB1E05CD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88962" y="5629299"/>
            <a:ext cx="1638300" cy="41910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A27BFEF-0156-5F72-4D1E-75F215B73586}"/>
              </a:ext>
            </a:extLst>
          </p:cNvPr>
          <p:cNvCxnSpPr>
            <a:cxnSpLocks/>
          </p:cNvCxnSpPr>
          <p:nvPr/>
        </p:nvCxnSpPr>
        <p:spPr>
          <a:xfrm>
            <a:off x="7324266" y="4740604"/>
            <a:ext cx="2005148" cy="0"/>
          </a:xfrm>
          <a:prstGeom prst="line">
            <a:avLst/>
          </a:prstGeom>
          <a:ln>
            <a:solidFill>
              <a:schemeClr val="accent1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B78E7857-2AD9-F1D9-8C3E-9D7177917F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82305" y="4920468"/>
            <a:ext cx="228600" cy="330200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E4B925E9-D731-E3C9-799A-03FEEC33910E}"/>
              </a:ext>
            </a:extLst>
          </p:cNvPr>
          <p:cNvGrpSpPr/>
          <p:nvPr/>
        </p:nvGrpSpPr>
        <p:grpSpPr>
          <a:xfrm>
            <a:off x="462765" y="3246166"/>
            <a:ext cx="4957340" cy="1998335"/>
            <a:chOff x="462765" y="3246166"/>
            <a:chExt cx="4957340" cy="1998335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05A9C66-FA26-4786-BA75-25E58646679E}"/>
                </a:ext>
              </a:extLst>
            </p:cNvPr>
            <p:cNvGrpSpPr/>
            <p:nvPr/>
          </p:nvGrpSpPr>
          <p:grpSpPr>
            <a:xfrm>
              <a:off x="462765" y="3246166"/>
              <a:ext cx="2816176" cy="1833725"/>
              <a:chOff x="893800" y="2969327"/>
              <a:chExt cx="2816176" cy="1833725"/>
            </a:xfrm>
          </p:grpSpPr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797C2E7D-B16D-DFDD-4DB5-6A615D276470}"/>
                  </a:ext>
                </a:extLst>
              </p:cNvPr>
              <p:cNvGrpSpPr/>
              <p:nvPr/>
            </p:nvGrpSpPr>
            <p:grpSpPr>
              <a:xfrm>
                <a:off x="893800" y="2969327"/>
                <a:ext cx="1270000" cy="1476938"/>
                <a:chOff x="219134" y="3895440"/>
                <a:chExt cx="1270000" cy="1476938"/>
              </a:xfrm>
            </p:grpSpPr>
            <p:pic>
              <p:nvPicPr>
                <p:cNvPr id="26" name="Picture 25">
                  <a:extLst>
                    <a:ext uri="{FF2B5EF4-FFF2-40B4-BE49-F238E27FC236}">
                      <a16:creationId xmlns:a16="http://schemas.microsoft.com/office/drawing/2014/main" id="{5DF17BE5-9A3A-BBBC-72C1-776A5EA7153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219134" y="3895440"/>
                  <a:ext cx="1270000" cy="381000"/>
                </a:xfrm>
                <a:prstGeom prst="rect">
                  <a:avLst/>
                </a:prstGeom>
              </p:spPr>
            </p:pic>
            <p:pic>
              <p:nvPicPr>
                <p:cNvPr id="27" name="Picture 26">
                  <a:extLst>
                    <a:ext uri="{FF2B5EF4-FFF2-40B4-BE49-F238E27FC236}">
                      <a16:creationId xmlns:a16="http://schemas.microsoft.com/office/drawing/2014/main" id="{9E44F21C-E809-037E-7E24-7E469102576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682684" y="5029478"/>
                  <a:ext cx="342900" cy="342900"/>
                </a:xfrm>
                <a:prstGeom prst="rect">
                  <a:avLst/>
                </a:prstGeom>
              </p:spPr>
            </p:pic>
          </p:grp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2E25B4A2-E7A2-4F6C-BAA6-63B79D6F66A4}"/>
                  </a:ext>
                </a:extLst>
              </p:cNvPr>
              <p:cNvGrpSpPr/>
              <p:nvPr/>
            </p:nvGrpSpPr>
            <p:grpSpPr>
              <a:xfrm>
                <a:off x="2592376" y="3869528"/>
                <a:ext cx="1117600" cy="933524"/>
                <a:chOff x="533400" y="5251376"/>
                <a:chExt cx="1117600" cy="933524"/>
              </a:xfrm>
            </p:grpSpPr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F5E58F19-C4C3-57FB-7076-00A0B983720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33400" y="6184900"/>
                  <a:ext cx="1117600" cy="0"/>
                </a:xfrm>
                <a:prstGeom prst="line">
                  <a:avLst/>
                </a:prstGeom>
                <a:ln w="3810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CE7A6E6A-8545-9069-364A-273751F2655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33400" y="5251376"/>
                  <a:ext cx="1117600" cy="0"/>
                </a:xfrm>
                <a:prstGeom prst="line">
                  <a:avLst/>
                </a:prstGeom>
                <a:ln w="3810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7BD15D04-1221-5AA5-F7DE-123F762E6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781572" y="3870983"/>
              <a:ext cx="673100" cy="469900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4A0A2D94-4B2E-0382-270B-8A9CB1137C7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747005" y="3881028"/>
              <a:ext cx="673100" cy="469900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4F7CED5E-FE9B-4139-48EC-7F90C365DD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149675" y="4774601"/>
              <a:ext cx="673100" cy="469900"/>
            </a:xfrm>
            <a:prstGeom prst="rect">
              <a:avLst/>
            </a:prstGeom>
          </p:spPr>
        </p:pic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202A2AB3-2F8F-829E-936C-C58049464B3F}"/>
              </a:ext>
            </a:extLst>
          </p:cNvPr>
          <p:cNvSpPr txBox="1"/>
          <p:nvPr/>
        </p:nvSpPr>
        <p:spPr>
          <a:xfrm>
            <a:off x="711972" y="334664"/>
            <a:ext cx="9485289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>
                <a:solidFill>
                  <a:schemeClr val="bg2"/>
                </a:solidFill>
                <a:latin typeface="Radion B" panose="020B0502030000000004" pitchFamily="34" charset="0"/>
              </a:rPr>
              <a:t>Rydberg blockade: phenomenology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57218F78-7EBE-FB70-042B-BD4CFF2E6A2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48756" y="5675635"/>
            <a:ext cx="3924298" cy="477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0106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4.81481E-6 L -0.02461 0.00092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37" y="4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167E-6 4.07407E-6 L 0.01718 4.07407E-6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2.59259E-6 L 0.00143 -0.43334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5" y="-21667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2000" fill="hold"/>
                                        <p:tgtEl>
                                          <p:spTgt spid="15"/>
                                        </p:tgtEl>
                                      </p:cBhvr>
                                      <p:by x="88000" y="88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51DFA5C-EE99-928E-7A1B-166FB9AA1C5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15</a:t>
            </a:fld>
            <a:endParaRPr lang="en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BA8EAD6-5184-B03D-2B48-6A37F8C25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Rydberg blockade: utility</a:t>
            </a:r>
            <a:endParaRPr lang="en-US" dirty="0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7D22916-C513-740B-D18E-7F853929995C}"/>
              </a:ext>
            </a:extLst>
          </p:cNvPr>
          <p:cNvSpPr txBox="1">
            <a:spLocks/>
          </p:cNvSpPr>
          <p:nvPr/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>
              <a:defRPr lang="nl-NL"/>
            </a:defPPr>
            <a:lvl1pPr marL="0" marR="0" lvl="0" indent="0" algn="r" defTabSz="914400" rtl="0" eaLnBrk="1" latinLnBrk="0" hangingPunct="1">
              <a:lnSpc>
                <a:spcPct val="122222"/>
              </a:lnSpc>
              <a:spcBef>
                <a:spcPts val="0"/>
              </a:spcBef>
              <a:buNone/>
              <a:defRPr sz="933" i="0" u="none" strike="noStrike" kern="1200" cap="none">
                <a:solidFill>
                  <a:schemeClr val="bg2"/>
                </a:solidFill>
                <a:latin typeface="Radion B" panose="020B0502030000000004" pitchFamily="34" charset="0"/>
                <a:ea typeface="Inter"/>
                <a:cs typeface="Radion B" panose="020B0502030000000004" pitchFamily="34" charset="0"/>
                <a:sym typeface="Inter"/>
              </a:defRPr>
            </a:lvl1pPr>
            <a:lvl2pPr marL="0" marR="0" lvl="1" indent="0" algn="r" defTabSz="914400" rtl="0" eaLnBrk="1" latinLnBrk="0" hangingPunct="1">
              <a:lnSpc>
                <a:spcPct val="122222"/>
              </a:lnSpc>
              <a:spcBef>
                <a:spcPts val="0"/>
              </a:spcBef>
              <a:buNone/>
              <a:defRPr sz="933" i="0" u="none" strike="noStrike" kern="1200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L="0" marR="0" lvl="2" indent="0" algn="r" defTabSz="914400" rtl="0" eaLnBrk="1" latinLnBrk="0" hangingPunct="1">
              <a:lnSpc>
                <a:spcPct val="122222"/>
              </a:lnSpc>
              <a:spcBef>
                <a:spcPts val="0"/>
              </a:spcBef>
              <a:buNone/>
              <a:defRPr sz="933" i="0" u="none" strike="noStrike" kern="1200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L="0" marR="0" lvl="3" indent="0" algn="r" defTabSz="914400" rtl="0" eaLnBrk="1" latinLnBrk="0" hangingPunct="1">
              <a:lnSpc>
                <a:spcPct val="122222"/>
              </a:lnSpc>
              <a:spcBef>
                <a:spcPts val="0"/>
              </a:spcBef>
              <a:buNone/>
              <a:defRPr sz="933" i="0" u="none" strike="noStrike" kern="1200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L="0" marR="0" lvl="4" indent="0" algn="r" defTabSz="914400" rtl="0" eaLnBrk="1" latinLnBrk="0" hangingPunct="1">
              <a:lnSpc>
                <a:spcPct val="122222"/>
              </a:lnSpc>
              <a:spcBef>
                <a:spcPts val="0"/>
              </a:spcBef>
              <a:buNone/>
              <a:defRPr sz="933" i="0" u="none" strike="noStrike" kern="1200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L="0" marR="0" lvl="5" indent="0" algn="r" defTabSz="914400" rtl="0" eaLnBrk="1" latinLnBrk="0" hangingPunct="1">
              <a:lnSpc>
                <a:spcPct val="122222"/>
              </a:lnSpc>
              <a:spcBef>
                <a:spcPts val="0"/>
              </a:spcBef>
              <a:buNone/>
              <a:defRPr sz="933" i="0" u="none" strike="noStrike" kern="1200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L="0" marR="0" lvl="6" indent="0" algn="r" defTabSz="914400" rtl="0" eaLnBrk="1" latinLnBrk="0" hangingPunct="1">
              <a:lnSpc>
                <a:spcPct val="122222"/>
              </a:lnSpc>
              <a:spcBef>
                <a:spcPts val="0"/>
              </a:spcBef>
              <a:buNone/>
              <a:defRPr sz="933" i="0" u="none" strike="noStrike" kern="1200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L="0" marR="0" lvl="7" indent="0" algn="r" defTabSz="914400" rtl="0" eaLnBrk="1" latinLnBrk="0" hangingPunct="1">
              <a:lnSpc>
                <a:spcPct val="122222"/>
              </a:lnSpc>
              <a:spcBef>
                <a:spcPts val="0"/>
              </a:spcBef>
              <a:buNone/>
              <a:defRPr sz="933" i="0" u="none" strike="noStrike" kern="1200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L="0" marR="0" lvl="8" indent="0" algn="r" defTabSz="914400" rtl="0" eaLnBrk="1" latinLnBrk="0" hangingPunct="1">
              <a:lnSpc>
                <a:spcPct val="122222"/>
              </a:lnSpc>
              <a:spcBef>
                <a:spcPts val="0"/>
              </a:spcBef>
              <a:buNone/>
              <a:defRPr sz="933" i="0" u="none" strike="noStrike" kern="1200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fld id="{8D6F7969-DE8A-4F2D-ACED-901F78AB9A57}" type="slidenum">
              <a:rPr lang="en-GB" smtClean="0"/>
              <a:pPr/>
              <a:t>15</a:t>
            </a:fld>
            <a:endParaRPr lang="en-GB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3CC3A9C-2DF9-81E3-DA33-62BCBD044999}"/>
              </a:ext>
            </a:extLst>
          </p:cNvPr>
          <p:cNvGrpSpPr/>
          <p:nvPr/>
        </p:nvGrpSpPr>
        <p:grpSpPr>
          <a:xfrm>
            <a:off x="854666" y="1904686"/>
            <a:ext cx="3464072" cy="1998977"/>
            <a:chOff x="1531242" y="3284082"/>
            <a:chExt cx="3464072" cy="1998977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1BEE74D-8B4B-5F30-D2CC-F12083D6DE5F}"/>
                </a:ext>
              </a:extLst>
            </p:cNvPr>
            <p:cNvSpPr txBox="1"/>
            <p:nvPr/>
          </p:nvSpPr>
          <p:spPr>
            <a:xfrm>
              <a:off x="1531242" y="3284082"/>
              <a:ext cx="2471831" cy="6771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4400" b="1" dirty="0">
                  <a:solidFill>
                    <a:schemeClr val="accent1"/>
                  </a:solidFill>
                  <a:latin typeface="Radion B" panose="020B0502030000000004" pitchFamily="34" charset="0"/>
                </a:rPr>
                <a:t>M</a:t>
              </a:r>
              <a:r>
                <a:rPr lang="en-US" sz="4400" dirty="0">
                  <a:solidFill>
                    <a:schemeClr val="bg2"/>
                  </a:solidFill>
                  <a:latin typeface="Radion B" panose="020B0502030000000004" pitchFamily="34" charset="0"/>
                </a:rPr>
                <a:t>aximum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F2AE4674-EB82-F9A5-0063-E6837B0BEAFA}"/>
                </a:ext>
              </a:extLst>
            </p:cNvPr>
            <p:cNvSpPr txBox="1"/>
            <p:nvPr/>
          </p:nvSpPr>
          <p:spPr>
            <a:xfrm>
              <a:off x="1707554" y="3938069"/>
              <a:ext cx="3287760" cy="6771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4400" b="1" dirty="0">
                  <a:solidFill>
                    <a:schemeClr val="accent1"/>
                  </a:solidFill>
                  <a:latin typeface="Radion B" panose="020B0502030000000004" pitchFamily="34" charset="0"/>
                </a:rPr>
                <a:t>I</a:t>
              </a:r>
              <a:r>
                <a:rPr lang="en-US" sz="4400" dirty="0">
                  <a:solidFill>
                    <a:schemeClr val="bg2"/>
                  </a:solidFill>
                  <a:latin typeface="Radion B" panose="020B0502030000000004" pitchFamily="34" charset="0"/>
                </a:rPr>
                <a:t>ndependent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C07F73BA-16BD-A5D7-D238-C667EA6B0E11}"/>
                </a:ext>
              </a:extLst>
            </p:cNvPr>
            <p:cNvSpPr txBox="1"/>
            <p:nvPr/>
          </p:nvSpPr>
          <p:spPr>
            <a:xfrm>
              <a:off x="1657679" y="4605951"/>
              <a:ext cx="793487" cy="6771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4400" b="1" dirty="0">
                  <a:solidFill>
                    <a:schemeClr val="accent1"/>
                  </a:solidFill>
                  <a:latin typeface="Radion B" panose="020B0502030000000004" pitchFamily="34" charset="0"/>
                </a:rPr>
                <a:t>S</a:t>
              </a:r>
              <a:r>
                <a:rPr lang="en-US" sz="4400" dirty="0">
                  <a:solidFill>
                    <a:schemeClr val="bg2"/>
                  </a:solidFill>
                  <a:latin typeface="Radion B" panose="020B0502030000000004" pitchFamily="34" charset="0"/>
                </a:rPr>
                <a:t>et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19CBFFB6-EAF7-E1CB-E093-6F957AF9B16F}"/>
              </a:ext>
            </a:extLst>
          </p:cNvPr>
          <p:cNvSpPr txBox="1"/>
          <p:nvPr/>
        </p:nvSpPr>
        <p:spPr>
          <a:xfrm>
            <a:off x="8390659" y="4910169"/>
            <a:ext cx="332509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bg2"/>
                </a:solidFill>
              </a:rPr>
              <a:t>Adapted from </a:t>
            </a:r>
            <a:r>
              <a:rPr lang="en-US" sz="1600" dirty="0" err="1">
                <a:solidFill>
                  <a:schemeClr val="bg2"/>
                </a:solidFill>
              </a:rPr>
              <a:t>Ebadi</a:t>
            </a:r>
            <a:r>
              <a:rPr lang="en-US" sz="1600" dirty="0">
                <a:solidFill>
                  <a:schemeClr val="bg2"/>
                </a:solidFill>
              </a:rPr>
              <a:t> et. al Science, 376, 6598 (2022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FDEB7EF-DEB8-43C7-5220-8C5D65547519}"/>
              </a:ext>
            </a:extLst>
          </p:cNvPr>
          <p:cNvSpPr txBox="1"/>
          <p:nvPr/>
        </p:nvSpPr>
        <p:spPr>
          <a:xfrm>
            <a:off x="976449" y="4663948"/>
            <a:ext cx="136736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bg2"/>
                </a:solidFill>
              </a:rPr>
              <a:t>(NP-Complete)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E546AEB-D781-31A4-E8BA-736F03EE25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7533" y="1745872"/>
            <a:ext cx="6256355" cy="2891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1328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35205A0-F5D5-8DC1-1BD7-B304D61707D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16</a:t>
            </a:fld>
            <a:endParaRPr lang="en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DDE6897-C035-2B45-EABB-E3F7CDD18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 algorithm for MI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FA078E9-15BA-8131-B3EB-8C899825E8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1513" y="3036570"/>
            <a:ext cx="4848355" cy="2240395"/>
          </a:xfrm>
          <a:prstGeom prst="rect">
            <a:avLst/>
          </a:prstGeom>
        </p:spPr>
      </p:pic>
      <p:pic>
        <p:nvPicPr>
          <p:cNvPr id="6" name="Picture 5" descr="Chart, line chart&#10;&#10;Description automatically generated">
            <a:extLst>
              <a:ext uri="{FF2B5EF4-FFF2-40B4-BE49-F238E27FC236}">
                <a16:creationId xmlns:a16="http://schemas.microsoft.com/office/drawing/2014/main" id="{F04ED6DF-ACB3-BDDD-D374-319B3983B8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0412" y="1572315"/>
            <a:ext cx="3244850" cy="2349500"/>
          </a:xfrm>
          <a:prstGeom prst="rect">
            <a:avLst/>
          </a:prstGeom>
        </p:spPr>
      </p:pic>
      <p:pic>
        <p:nvPicPr>
          <p:cNvPr id="7" name="Picture 6" descr="Chart, line chart&#10;&#10;Description automatically generated">
            <a:extLst>
              <a:ext uri="{FF2B5EF4-FFF2-40B4-BE49-F238E27FC236}">
                <a16:creationId xmlns:a16="http://schemas.microsoft.com/office/drawing/2014/main" id="{B471097A-3622-54F6-5250-8E894BD8A0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1508" y="4010764"/>
            <a:ext cx="3019930" cy="224039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45B5E02-6A7E-BB2B-529B-3A3EC6A861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0005" y="1840011"/>
            <a:ext cx="7772400" cy="73005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55446DB-DC51-2BAC-7801-80ED130761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31513" y="5705059"/>
            <a:ext cx="3149600" cy="546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9390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F86F123-F0FE-869E-3ECF-56657EEAFFDD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17</a:t>
            </a:fld>
            <a:endParaRPr lang="en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0D23108-73D8-5037-0C6F-184E0DD6D3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MIS applications are ubiquitous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ED6110-18AC-C028-B02A-63892B0BBD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2984" y="1610698"/>
            <a:ext cx="3402766" cy="376225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A38D10A-2096-F9FC-B1D0-E5C1BEC713D7}"/>
              </a:ext>
            </a:extLst>
          </p:cNvPr>
          <p:cNvSpPr/>
          <p:nvPr/>
        </p:nvSpPr>
        <p:spPr>
          <a:xfrm>
            <a:off x="8576114" y="5563454"/>
            <a:ext cx="340276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err="1">
                <a:solidFill>
                  <a:srgbClr val="333333"/>
                </a:solidFill>
                <a:latin typeface="Radion B" panose="020B0502030000000004" pitchFamily="34" charset="0"/>
              </a:rPr>
              <a:t>Wurtz</a:t>
            </a:r>
            <a:r>
              <a:rPr lang="en-US" sz="1200" dirty="0">
                <a:solidFill>
                  <a:srgbClr val="333333"/>
                </a:solidFill>
                <a:latin typeface="Radion B" panose="020B0502030000000004" pitchFamily="34" charset="0"/>
              </a:rPr>
              <a:t> et al., “Industry applications of neutral-</a:t>
            </a:r>
            <a:r>
              <a:rPr lang="en-US" sz="1200" dirty="0" err="1">
                <a:solidFill>
                  <a:srgbClr val="333333"/>
                </a:solidFill>
                <a:latin typeface="Radion B" panose="020B0502030000000004" pitchFamily="34" charset="0"/>
              </a:rPr>
              <a:t>aom</a:t>
            </a:r>
            <a:r>
              <a:rPr lang="en-US" sz="1200" dirty="0">
                <a:solidFill>
                  <a:srgbClr val="333333"/>
                </a:solidFill>
                <a:latin typeface="Radion B" panose="020B0502030000000004" pitchFamily="34" charset="0"/>
              </a:rPr>
              <a:t> quantum computing solving </a:t>
            </a:r>
            <a:r>
              <a:rPr lang="en-US" sz="1200" dirty="0">
                <a:solidFill>
                  <a:schemeClr val="accent1"/>
                </a:solidFill>
                <a:latin typeface="Radion B" panose="020B0502030000000004" pitchFamily="34" charset="0"/>
              </a:rPr>
              <a:t>independent set</a:t>
            </a:r>
            <a:r>
              <a:rPr lang="en-US" sz="1200" dirty="0">
                <a:solidFill>
                  <a:srgbClr val="333333"/>
                </a:solidFill>
                <a:latin typeface="Radion B" panose="020B0502030000000004" pitchFamily="34" charset="0"/>
              </a:rPr>
              <a:t> problems” https://</a:t>
            </a:r>
            <a:r>
              <a:rPr lang="en-US" sz="1200" dirty="0" err="1">
                <a:solidFill>
                  <a:srgbClr val="333333"/>
                </a:solidFill>
                <a:latin typeface="Radion B" panose="020B0502030000000004" pitchFamily="34" charset="0"/>
              </a:rPr>
              <a:t>arxiv.org</a:t>
            </a:r>
            <a:r>
              <a:rPr lang="en-US" sz="1200" dirty="0">
                <a:solidFill>
                  <a:srgbClr val="333333"/>
                </a:solidFill>
                <a:latin typeface="Radion B" panose="020B0502030000000004" pitchFamily="34" charset="0"/>
              </a:rPr>
              <a:t>/abs/2205.08500</a:t>
            </a:r>
          </a:p>
        </p:txBody>
      </p:sp>
      <p:pic>
        <p:nvPicPr>
          <p:cNvPr id="7" name="Picture 6" descr="A picture containing text, clock&#10;&#10;Description automatically generated">
            <a:extLst>
              <a:ext uri="{FF2B5EF4-FFF2-40B4-BE49-F238E27FC236}">
                <a16:creationId xmlns:a16="http://schemas.microsoft.com/office/drawing/2014/main" id="{080BDB18-A6D5-B0AB-9808-8F4685DDB1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4115" y="3491826"/>
            <a:ext cx="2282613" cy="2546463"/>
          </a:xfrm>
          <a:prstGeom prst="rect">
            <a:avLst/>
          </a:prstGeom>
        </p:spPr>
      </p:pic>
      <p:pic>
        <p:nvPicPr>
          <p:cNvPr id="8" name="Picture 7" descr="Diagram, schematic&#10;&#10;Description automatically generated">
            <a:extLst>
              <a:ext uri="{FF2B5EF4-FFF2-40B4-BE49-F238E27FC236}">
                <a16:creationId xmlns:a16="http://schemas.microsoft.com/office/drawing/2014/main" id="{07942E9B-9C73-4D46-EA2E-E292D524248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3214" y="1416269"/>
            <a:ext cx="2564645" cy="2772140"/>
          </a:xfrm>
          <a:prstGeom prst="rect">
            <a:avLst/>
          </a:prstGeom>
        </p:spPr>
      </p:pic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96FEEF35-7751-998B-00F2-F751AB0B32F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499" y="2849353"/>
            <a:ext cx="2822162" cy="3343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2746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AA54902-B6EC-820F-F84F-23CA5573778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18</a:t>
            </a:fld>
            <a:endParaRPr lang="en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2B0A85B-9166-0CC3-D5AA-41DCB99C5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gramming neutral atoms in 5 steps</a:t>
            </a:r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C8F56B11-CD01-B5CB-E540-47BA26D10B01}"/>
              </a:ext>
            </a:extLst>
          </p:cNvPr>
          <p:cNvSpPr txBox="1">
            <a:spLocks/>
          </p:cNvSpPr>
          <p:nvPr/>
        </p:nvSpPr>
        <p:spPr>
          <a:xfrm>
            <a:off x="1090200" y="1954903"/>
            <a:ext cx="9620870" cy="294819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380990" marR="0" lvl="0" indent="-3809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800" b="0" i="0" u="none" strike="noStrike" cap="none">
                <a:solidFill>
                  <a:schemeClr val="bg2"/>
                </a:solidFill>
                <a:latin typeface="Radion B Book" panose="020B0502030000000004" pitchFamily="34" charset="0"/>
                <a:ea typeface="Radion B Book" panose="020B0502030000000004" pitchFamily="34" charset="0"/>
                <a:cs typeface="Arial"/>
                <a:sym typeface="Arial"/>
              </a:defRPr>
            </a:lvl1pPr>
            <a:lvl2pPr marL="770447" marR="0" lvl="1" indent="-3788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2200" b="0" i="0" u="none" strike="noStrike" cap="none">
                <a:solidFill>
                  <a:schemeClr val="bg2"/>
                </a:solidFill>
                <a:latin typeface="Radion B" panose="020B0502030000000004" pitchFamily="34" charset="0"/>
                <a:ea typeface="Radion B" panose="020B0502030000000004" pitchFamily="34" charset="0"/>
                <a:cs typeface="Arial"/>
                <a:sym typeface="Arial"/>
              </a:defRPr>
            </a:lvl2pPr>
            <a:lvl3pPr marL="1007508" marR="0" lvl="2" indent="-23706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tabLst>
                <a:tab pos="292093" algn="l"/>
              </a:tabLst>
              <a:defRPr sz="1800" b="0" i="0" u="none" strike="noStrike" cap="none">
                <a:solidFill>
                  <a:schemeClr val="bg2"/>
                </a:solidFill>
                <a:latin typeface="Radion B Light" panose="020B0402030000000004" pitchFamily="34" charset="0"/>
                <a:ea typeface="Radion B Light" panose="020B0402030000000004" pitchFamily="34" charset="0"/>
                <a:cs typeface="Arial"/>
                <a:sym typeface="Arial"/>
              </a:defRPr>
            </a:lvl3pPr>
            <a:lvl4pPr marL="1248802" marR="0" lvl="3" indent="-24129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tabLst/>
              <a:defRPr sz="1400" b="0" i="0" u="none" strike="noStrike" cap="none">
                <a:solidFill>
                  <a:schemeClr val="bg2"/>
                </a:solidFill>
                <a:latin typeface="Radion B Light" panose="020B0402030000000004" pitchFamily="34" charset="0"/>
                <a:ea typeface="Radion B Light" panose="020B0402030000000004" pitchFamily="34" charset="0"/>
                <a:cs typeface="Arial"/>
                <a:sym typeface="Arial"/>
              </a:defRPr>
            </a:lvl4pPr>
            <a:lvl5pPr marL="1422364" marR="0" lvl="4" indent="-17356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tabLst/>
              <a:defRPr sz="1200" b="0" i="0" u="none" strike="noStrike" cap="none">
                <a:solidFill>
                  <a:schemeClr val="bg2"/>
                </a:solidFill>
                <a:latin typeface="Radion B Light" panose="020B0402030000000004" pitchFamily="34" charset="0"/>
                <a:ea typeface="Radion B Light" panose="020B0402030000000004" pitchFamily="34" charset="0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514350" indent="-514350">
              <a:buFont typeface="+mj-lt"/>
              <a:buAutoNum type="arabicPeriod"/>
            </a:pPr>
            <a:r>
              <a:rPr lang="en-US" sz="3200" kern="0" dirty="0"/>
              <a:t>Define atom positions =&gt; Rydberg radius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3200" kern="0" dirty="0"/>
              <a:t>Define time traces of Hamiltonian parameters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3200" kern="0" dirty="0"/>
              <a:t>Initialize Hamiltonian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3200" kern="0" dirty="0"/>
              <a:t>Evolve!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3200" kern="0" dirty="0"/>
              <a:t>Measure!</a:t>
            </a:r>
          </a:p>
        </p:txBody>
      </p:sp>
    </p:spTree>
    <p:extLst>
      <p:ext uri="{BB962C8B-B14F-4D97-AF65-F5344CB8AC3E}">
        <p14:creationId xmlns:p14="http://schemas.microsoft.com/office/powerpoint/2010/main" val="12356424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picture containing light&#10;&#10;Description automatically generated">
            <a:extLst>
              <a:ext uri="{FF2B5EF4-FFF2-40B4-BE49-F238E27FC236}">
                <a16:creationId xmlns:a16="http://schemas.microsoft.com/office/drawing/2014/main" id="{B42A4E7C-78C9-B364-6049-147523F0B9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7181" y="859105"/>
            <a:ext cx="6283943" cy="6401434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407930-817B-B1CF-5FD0-26756DD5E471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</p:spPr>
        <p:txBody>
          <a:bodyPr/>
          <a:lstStyle/>
          <a:p>
            <a:fld id="{8D6F7969-DE8A-4F2D-ACED-901F78AB9A57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CA0B2D3-277C-226C-6E84-921B89D733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1129" y="1617896"/>
            <a:ext cx="10515600" cy="3743621"/>
          </a:xfrm>
        </p:spPr>
        <p:txBody>
          <a:bodyPr/>
          <a:lstStyle/>
          <a:p>
            <a:pPr lvl="1">
              <a:lnSpc>
                <a:spcPct val="150000"/>
              </a:lnSpc>
            </a:pPr>
            <a:r>
              <a:rPr lang="en-US" dirty="0"/>
              <a:t>Densely packed qubits (atoms)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Efficient qubit control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Flexible problem encoding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The fastest path to quantum error correction</a:t>
            </a:r>
          </a:p>
          <a:p>
            <a:pPr lvl="1">
              <a:lnSpc>
                <a:spcPct val="150000"/>
              </a:lnSpc>
            </a:pPr>
            <a:r>
              <a:rPr lang="en-US" dirty="0">
                <a:solidFill>
                  <a:schemeClr val="accent1"/>
                </a:solidFill>
              </a:rPr>
              <a:t>New ways to think quantum computing!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33F0C01-2194-8C52-12E4-2A2B110DBA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</p:spPr>
        <p:txBody>
          <a:bodyPr/>
          <a:lstStyle/>
          <a:p>
            <a:r>
              <a:rPr lang="en-US" dirty="0"/>
              <a:t>Why neutral-atom quantum processor</a:t>
            </a:r>
          </a:p>
        </p:txBody>
      </p:sp>
    </p:spTree>
    <p:extLst>
      <p:ext uri="{BB962C8B-B14F-4D97-AF65-F5344CB8AC3E}">
        <p14:creationId xmlns:p14="http://schemas.microsoft.com/office/powerpoint/2010/main" val="27992078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E83B657-0661-6962-C5AC-BBC5BE17ACC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3</a:t>
            </a:fld>
            <a:endParaRPr lang="en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4805E94-295C-95E0-53A8-B744112674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antum computing == new rules!</a:t>
            </a:r>
          </a:p>
        </p:txBody>
      </p:sp>
      <p:pic>
        <p:nvPicPr>
          <p:cNvPr id="5" name="Graphic 4" descr="Network outline">
            <a:extLst>
              <a:ext uri="{FF2B5EF4-FFF2-40B4-BE49-F238E27FC236}">
                <a16:creationId xmlns:a16="http://schemas.microsoft.com/office/drawing/2014/main" id="{C1F1FDF2-5586-6832-8926-EDD358D31C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6580" y="2448033"/>
            <a:ext cx="914400" cy="9144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DC71DF6-42BD-7534-79E9-CA7852AD6056}"/>
              </a:ext>
            </a:extLst>
          </p:cNvPr>
          <p:cNvSpPr txBox="1"/>
          <p:nvPr/>
        </p:nvSpPr>
        <p:spPr>
          <a:xfrm>
            <a:off x="1976283" y="2766733"/>
            <a:ext cx="1784143" cy="2769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bg2"/>
                </a:solidFill>
                <a:latin typeface="Radion B Book" panose="020B0602030000000004" pitchFamily="34" charset="0"/>
              </a:rPr>
              <a:t>Information input</a:t>
            </a:r>
          </a:p>
        </p:txBody>
      </p:sp>
      <p:pic>
        <p:nvPicPr>
          <p:cNvPr id="7" name="Graphic 6" descr="Gears outline">
            <a:extLst>
              <a:ext uri="{FF2B5EF4-FFF2-40B4-BE49-F238E27FC236}">
                <a16:creationId xmlns:a16="http://schemas.microsoft.com/office/drawing/2014/main" id="{6572200C-4C37-771D-0BAA-CA589D4FA8A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86580" y="3830200"/>
            <a:ext cx="914400" cy="9144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604B76E-0691-91F3-9756-2B6521C97A76}"/>
              </a:ext>
            </a:extLst>
          </p:cNvPr>
          <p:cNvSpPr txBox="1"/>
          <p:nvPr/>
        </p:nvSpPr>
        <p:spPr>
          <a:xfrm>
            <a:off x="1976283" y="4148900"/>
            <a:ext cx="2353208" cy="2769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bg2"/>
                </a:solidFill>
                <a:latin typeface="Radion B Book" panose="020B0602030000000004" pitchFamily="34" charset="0"/>
              </a:rPr>
              <a:t>Information processing</a:t>
            </a:r>
          </a:p>
        </p:txBody>
      </p:sp>
      <p:pic>
        <p:nvPicPr>
          <p:cNvPr id="9" name="Graphic 8" descr="Bar chart outline">
            <a:extLst>
              <a:ext uri="{FF2B5EF4-FFF2-40B4-BE49-F238E27FC236}">
                <a16:creationId xmlns:a16="http://schemas.microsoft.com/office/drawing/2014/main" id="{80C2E25B-C3FA-FF8F-A521-53AE0072A99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6580" y="5224559"/>
            <a:ext cx="914400" cy="914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3EED001-C44F-2D42-7A39-D6EB724B1CFD}"/>
              </a:ext>
            </a:extLst>
          </p:cNvPr>
          <p:cNvSpPr txBox="1"/>
          <p:nvPr/>
        </p:nvSpPr>
        <p:spPr>
          <a:xfrm>
            <a:off x="1976283" y="5543259"/>
            <a:ext cx="1646285" cy="2769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bg2"/>
                </a:solidFill>
                <a:latin typeface="Radion B Book" panose="020B0602030000000004" pitchFamily="34" charset="0"/>
              </a:rPr>
              <a:t>Results &amp; outpu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C2B111-5362-16E7-A733-FA6156EC14FD}"/>
              </a:ext>
            </a:extLst>
          </p:cNvPr>
          <p:cNvSpPr txBox="1"/>
          <p:nvPr/>
        </p:nvSpPr>
        <p:spPr>
          <a:xfrm>
            <a:off x="5506579" y="1912512"/>
            <a:ext cx="862416" cy="2769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bg2"/>
                </a:solidFill>
                <a:latin typeface="Radion B Book" panose="020B0602030000000004" pitchFamily="34" charset="0"/>
              </a:rPr>
              <a:t>Classic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9860A54-C327-A4B5-83AE-31A9F49B5AF0}"/>
              </a:ext>
            </a:extLst>
          </p:cNvPr>
          <p:cNvSpPr txBox="1"/>
          <p:nvPr/>
        </p:nvSpPr>
        <p:spPr>
          <a:xfrm>
            <a:off x="8610942" y="1912513"/>
            <a:ext cx="973023" cy="2769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bg2"/>
                </a:solidFill>
                <a:latin typeface="Radion B Book" panose="020B0602030000000004" pitchFamily="34" charset="0"/>
              </a:rPr>
              <a:t>Quantum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24B880F-EF34-EC46-EEE4-224693D2482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5024" y="2523481"/>
            <a:ext cx="1235075" cy="93472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6341F6C-3404-1651-B821-8E541A1145DE}"/>
              </a:ext>
            </a:extLst>
          </p:cNvPr>
          <p:cNvSpPr txBox="1"/>
          <p:nvPr/>
        </p:nvSpPr>
        <p:spPr>
          <a:xfrm>
            <a:off x="6655774" y="3085431"/>
            <a:ext cx="37029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accent1"/>
                </a:solidFill>
                <a:latin typeface="Radion B Book" panose="020B0602030000000004" pitchFamily="34" charset="0"/>
              </a:rPr>
              <a:t>bits</a:t>
            </a:r>
          </a:p>
        </p:txBody>
      </p:sp>
      <p:pic>
        <p:nvPicPr>
          <p:cNvPr id="15" name="Picture 14" descr="A picture containing night sky&#10;&#10;Description automatically generated">
            <a:extLst>
              <a:ext uri="{FF2B5EF4-FFF2-40B4-BE49-F238E27FC236}">
                <a16:creationId xmlns:a16="http://schemas.microsoft.com/office/drawing/2014/main" id="{0FD7DC1C-1748-9B6F-48D6-98A73874086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7169" y="2448033"/>
            <a:ext cx="977900" cy="9779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09D99F41-EEEC-7494-A5C6-04C6F011A187}"/>
              </a:ext>
            </a:extLst>
          </p:cNvPr>
          <p:cNvSpPr txBox="1"/>
          <p:nvPr/>
        </p:nvSpPr>
        <p:spPr>
          <a:xfrm>
            <a:off x="10325881" y="3085431"/>
            <a:ext cx="63799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accent1"/>
                </a:solidFill>
                <a:latin typeface="Radion B Book" panose="020B0602030000000004" pitchFamily="34" charset="0"/>
              </a:rPr>
              <a:t>qubits</a:t>
            </a:r>
          </a:p>
        </p:txBody>
      </p:sp>
      <p:pic>
        <p:nvPicPr>
          <p:cNvPr id="17" name="Picture 16" descr="Shape&#10;&#10;Description automatically generated with medium confidence">
            <a:extLst>
              <a:ext uri="{FF2B5EF4-FFF2-40B4-BE49-F238E27FC236}">
                <a16:creationId xmlns:a16="http://schemas.microsoft.com/office/drawing/2014/main" id="{77C4CECC-B0F9-634C-FD7C-267369416D8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0260" y="3978212"/>
            <a:ext cx="1627442" cy="520011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5619751-14D4-F898-B653-E4D5B962EDE0}"/>
              </a:ext>
            </a:extLst>
          </p:cNvPr>
          <p:cNvSpPr txBox="1"/>
          <p:nvPr/>
        </p:nvSpPr>
        <p:spPr>
          <a:xfrm>
            <a:off x="5904620" y="4758871"/>
            <a:ext cx="118942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accent1"/>
                </a:solidFill>
                <a:latin typeface="Radion B Book" panose="020B0602030000000004" pitchFamily="34" charset="0"/>
              </a:rPr>
              <a:t>Logic gates</a:t>
            </a:r>
          </a:p>
        </p:txBody>
      </p:sp>
      <p:pic>
        <p:nvPicPr>
          <p:cNvPr id="19" name="Picture 10" descr="Quantum circuit - Wikipedia">
            <a:extLst>
              <a:ext uri="{FF2B5EF4-FFF2-40B4-BE49-F238E27FC236}">
                <a16:creationId xmlns:a16="http://schemas.microsoft.com/office/drawing/2014/main" id="{23E63891-CB63-2B4E-F101-ACED60ABD9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9409" y="3760768"/>
            <a:ext cx="2438404" cy="914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D34A07A5-278B-3DAC-A457-24A9DB46C160}"/>
              </a:ext>
            </a:extLst>
          </p:cNvPr>
          <p:cNvSpPr txBox="1"/>
          <p:nvPr/>
        </p:nvSpPr>
        <p:spPr>
          <a:xfrm>
            <a:off x="8937789" y="4758870"/>
            <a:ext cx="161422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accent1"/>
                </a:solidFill>
                <a:latin typeface="Radion B Book" panose="020B0602030000000004" pitchFamily="34" charset="0"/>
              </a:rPr>
              <a:t>Quantum gat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6E0C11E-BA8A-C285-D824-E507E7670F25}"/>
              </a:ext>
            </a:extLst>
          </p:cNvPr>
          <p:cNvSpPr txBox="1"/>
          <p:nvPr/>
        </p:nvSpPr>
        <p:spPr>
          <a:xfrm>
            <a:off x="5815732" y="5587051"/>
            <a:ext cx="131766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accent1"/>
                </a:solidFill>
                <a:latin typeface="Radion B Book" panose="020B0602030000000004" pitchFamily="34" charset="0"/>
              </a:rPr>
              <a:t>Deterministic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87F54A8-716D-6821-8C2D-91A4B86C9D19}"/>
              </a:ext>
            </a:extLst>
          </p:cNvPr>
          <p:cNvSpPr txBox="1"/>
          <p:nvPr/>
        </p:nvSpPr>
        <p:spPr>
          <a:xfrm>
            <a:off x="8375563" y="5598941"/>
            <a:ext cx="282609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accent1"/>
                </a:solidFill>
                <a:latin typeface="Radion B Book" panose="020B0602030000000004" pitchFamily="34" charset="0"/>
              </a:rPr>
              <a:t>Probabilistic &amp; deterministic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8F6A2ED-0374-1964-9A15-928A34B77210}"/>
              </a:ext>
            </a:extLst>
          </p:cNvPr>
          <p:cNvCxnSpPr/>
          <p:nvPr/>
        </p:nvCxnSpPr>
        <p:spPr>
          <a:xfrm flipH="1">
            <a:off x="5503433" y="2204224"/>
            <a:ext cx="5528764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A85E673-9EC6-5E7D-A8A6-62894B371EED}"/>
              </a:ext>
            </a:extLst>
          </p:cNvPr>
          <p:cNvCxnSpPr>
            <a:cxnSpLocks/>
          </p:cNvCxnSpPr>
          <p:nvPr/>
        </p:nvCxnSpPr>
        <p:spPr>
          <a:xfrm flipV="1">
            <a:off x="2860385" y="3223930"/>
            <a:ext cx="0" cy="754282"/>
          </a:xfrm>
          <a:prstGeom prst="line">
            <a:avLst/>
          </a:prstGeom>
          <a:ln w="12700">
            <a:solidFill>
              <a:schemeClr val="bg2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1C33C07-0C84-29A2-88AA-EBB0F3991764}"/>
              </a:ext>
            </a:extLst>
          </p:cNvPr>
          <p:cNvCxnSpPr>
            <a:cxnSpLocks/>
          </p:cNvCxnSpPr>
          <p:nvPr/>
        </p:nvCxnSpPr>
        <p:spPr>
          <a:xfrm flipV="1">
            <a:off x="2868354" y="4608777"/>
            <a:ext cx="0" cy="743511"/>
          </a:xfrm>
          <a:prstGeom prst="line">
            <a:avLst/>
          </a:prstGeom>
          <a:ln w="12700">
            <a:solidFill>
              <a:schemeClr val="bg2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34297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F507D631-9C94-E81A-0C43-A9015563F8D2}"/>
              </a:ext>
            </a:extLst>
          </p:cNvPr>
          <p:cNvSpPr txBox="1"/>
          <p:nvPr/>
        </p:nvSpPr>
        <p:spPr>
          <a:xfrm>
            <a:off x="3865312" y="1827620"/>
            <a:ext cx="210754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bg2"/>
                </a:solidFill>
                <a:latin typeface="Radion"/>
              </a:rPr>
              <a:t>Digital opera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7026EE7-BCB3-CD56-A94D-80039306D8E9}"/>
              </a:ext>
            </a:extLst>
          </p:cNvPr>
          <p:cNvSpPr txBox="1"/>
          <p:nvPr/>
        </p:nvSpPr>
        <p:spPr>
          <a:xfrm>
            <a:off x="571947" y="1827620"/>
            <a:ext cx="238475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bg2"/>
                </a:solidFill>
                <a:latin typeface="Radion"/>
              </a:rPr>
              <a:t>Analog oper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8F54D14-12C5-583C-8433-5B5D1DED15A2}"/>
              </a:ext>
            </a:extLst>
          </p:cNvPr>
          <p:cNvSpPr txBox="1"/>
          <p:nvPr/>
        </p:nvSpPr>
        <p:spPr>
          <a:xfrm>
            <a:off x="7113452" y="1827620"/>
            <a:ext cx="4300626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solidFill>
                  <a:schemeClr val="bg2"/>
                </a:solidFill>
                <a:latin typeface="Radion"/>
              </a:rPr>
              <a:t>Designed for the early stage of maturity of the quantum computing resources of today…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4E91C17-A4F2-D3E3-3CD9-3F61D79B6AD2}"/>
              </a:ext>
            </a:extLst>
          </p:cNvPr>
          <p:cNvCxnSpPr/>
          <p:nvPr/>
        </p:nvCxnSpPr>
        <p:spPr>
          <a:xfrm>
            <a:off x="6743699" y="1819808"/>
            <a:ext cx="0" cy="3039200"/>
          </a:xfrm>
          <a:prstGeom prst="line">
            <a:avLst/>
          </a:prstGeom>
          <a:ln w="19050">
            <a:solidFill>
              <a:srgbClr val="643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7F468A73-006A-9EE7-C3F4-52F91CC3AC0C}"/>
              </a:ext>
            </a:extLst>
          </p:cNvPr>
          <p:cNvSpPr txBox="1"/>
          <p:nvPr/>
        </p:nvSpPr>
        <p:spPr>
          <a:xfrm>
            <a:off x="7128638" y="5974498"/>
            <a:ext cx="261610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>
                <a:solidFill>
                  <a:schemeClr val="bg2"/>
                </a:solidFill>
                <a:latin typeface="Radion"/>
              </a:rPr>
              <a:t>More on analog processors: </a:t>
            </a:r>
          </a:p>
          <a:p>
            <a:r>
              <a:rPr lang="en-US" sz="1200" i="1" dirty="0">
                <a:latin typeface="Radion"/>
                <a:hlinkClick r:id="rId2"/>
              </a:rPr>
              <a:t>Nature</a:t>
            </a:r>
            <a:r>
              <a:rPr lang="en-US" sz="1200" dirty="0">
                <a:latin typeface="Radion"/>
              </a:rPr>
              <a:t> </a:t>
            </a:r>
            <a:r>
              <a:rPr lang="en-US" sz="1200" b="1" dirty="0">
                <a:solidFill>
                  <a:schemeClr val="bg2"/>
                </a:solidFill>
                <a:latin typeface="Radion"/>
              </a:rPr>
              <a:t>volume 607</a:t>
            </a:r>
            <a:r>
              <a:rPr lang="en-US" sz="1200" dirty="0">
                <a:solidFill>
                  <a:schemeClr val="bg2"/>
                </a:solidFill>
                <a:latin typeface="Radion"/>
              </a:rPr>
              <a:t>, p. 667–676 (2022)</a:t>
            </a:r>
            <a:endParaRPr lang="en-US" sz="1100" dirty="0">
              <a:solidFill>
                <a:schemeClr val="bg2"/>
              </a:solidFill>
              <a:latin typeface="Radion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C1434717-F4EB-6980-69F9-F61EBDF103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1947" y="2284709"/>
            <a:ext cx="5968655" cy="2652736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40ED7A01-C93E-3105-4E28-AE06E5D617A7}"/>
              </a:ext>
            </a:extLst>
          </p:cNvPr>
          <p:cNvSpPr txBox="1"/>
          <p:nvPr/>
        </p:nvSpPr>
        <p:spPr>
          <a:xfrm>
            <a:off x="7540606" y="4375455"/>
            <a:ext cx="245185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bg2"/>
                </a:solidFill>
                <a:latin typeface="Radion"/>
              </a:rPr>
              <a:t>Universal applicability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1FE5737-6A74-43FB-B49B-A349CDF5D10A}"/>
              </a:ext>
            </a:extLst>
          </p:cNvPr>
          <p:cNvSpPr txBox="1"/>
          <p:nvPr/>
        </p:nvSpPr>
        <p:spPr>
          <a:xfrm>
            <a:off x="7540606" y="3964777"/>
            <a:ext cx="322054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bg2"/>
                </a:solidFill>
                <a:latin typeface="Radion"/>
              </a:rPr>
              <a:t>Single-step large entanglement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7128638" y="3107323"/>
            <a:ext cx="2863824" cy="327577"/>
            <a:chOff x="7128638" y="3107323"/>
            <a:chExt cx="2863824" cy="327577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A4DDA157-11D7-8D54-F88B-A7E0B9C6A4E4}"/>
                </a:ext>
              </a:extLst>
            </p:cNvPr>
            <p:cNvSpPr txBox="1"/>
            <p:nvPr/>
          </p:nvSpPr>
          <p:spPr>
            <a:xfrm>
              <a:off x="7540607" y="3148000"/>
              <a:ext cx="2451855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600" dirty="0">
                  <a:solidFill>
                    <a:schemeClr val="bg2"/>
                  </a:solidFill>
                  <a:latin typeface="Radion"/>
                </a:rPr>
                <a:t>Robustness to errors</a:t>
              </a:r>
            </a:p>
          </p:txBody>
        </p:sp>
        <p:grpSp>
          <p:nvGrpSpPr>
            <p:cNvPr id="31" name="Group 30"/>
            <p:cNvGrpSpPr/>
            <p:nvPr/>
          </p:nvGrpSpPr>
          <p:grpSpPr>
            <a:xfrm>
              <a:off x="7128638" y="3107323"/>
              <a:ext cx="327577" cy="327577"/>
              <a:chOff x="251997" y="2068815"/>
              <a:chExt cx="475883" cy="475883"/>
            </a:xfrm>
          </p:grpSpPr>
          <p:grpSp>
            <p:nvGrpSpPr>
              <p:cNvPr id="32" name="Group 31"/>
              <p:cNvGrpSpPr/>
              <p:nvPr/>
            </p:nvGrpSpPr>
            <p:grpSpPr>
              <a:xfrm>
                <a:off x="251997" y="2068815"/>
                <a:ext cx="475883" cy="475883"/>
                <a:chOff x="605051" y="2619571"/>
                <a:chExt cx="272955" cy="272955"/>
              </a:xfrm>
            </p:grpSpPr>
            <p:sp>
              <p:nvSpPr>
                <p:cNvPr id="34" name="Oval 33"/>
                <p:cNvSpPr/>
                <p:nvPr/>
              </p:nvSpPr>
              <p:spPr>
                <a:xfrm>
                  <a:off x="605051" y="2619571"/>
                  <a:ext cx="272955" cy="272955"/>
                </a:xfrm>
                <a:prstGeom prst="ellipse">
                  <a:avLst/>
                </a:prstGeom>
                <a:solidFill>
                  <a:schemeClr val="accent1">
                    <a:alpha val="9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35" name="Oval 34"/>
                <p:cNvSpPr/>
                <p:nvPr/>
              </p:nvSpPr>
              <p:spPr>
                <a:xfrm>
                  <a:off x="644059" y="2658579"/>
                  <a:ext cx="194939" cy="194939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bg2"/>
                    </a:solidFill>
                  </a:endParaRPr>
                </a:p>
              </p:txBody>
            </p:sp>
          </p:grpSp>
          <p:pic>
            <p:nvPicPr>
              <p:cNvPr id="33" name="Graphic 6" descr="Checkmark with solid fill">
                <a:extLst>
                  <a:ext uri="{FF2B5EF4-FFF2-40B4-BE49-F238E27FC236}">
                    <a16:creationId xmlns:a16="http://schemas.microsoft.com/office/drawing/2014/main" id="{5AAB9D85-A9DF-76EC-EE75-23F2038F7A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hq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373777" y="2185951"/>
                <a:ext cx="251299" cy="251299"/>
              </a:xfrm>
              <a:prstGeom prst="rect">
                <a:avLst/>
              </a:prstGeom>
            </p:spPr>
          </p:pic>
        </p:grpSp>
      </p:grpSp>
      <p:grpSp>
        <p:nvGrpSpPr>
          <p:cNvPr id="19" name="Group 18"/>
          <p:cNvGrpSpPr/>
          <p:nvPr/>
        </p:nvGrpSpPr>
        <p:grpSpPr>
          <a:xfrm>
            <a:off x="7128638" y="4328641"/>
            <a:ext cx="327577" cy="327577"/>
            <a:chOff x="7123015" y="4361928"/>
            <a:chExt cx="475883" cy="475883"/>
          </a:xfrm>
        </p:grpSpPr>
        <p:grpSp>
          <p:nvGrpSpPr>
            <p:cNvPr id="47" name="Group 46"/>
            <p:cNvGrpSpPr/>
            <p:nvPr/>
          </p:nvGrpSpPr>
          <p:grpSpPr>
            <a:xfrm>
              <a:off x="7123015" y="4361928"/>
              <a:ext cx="475883" cy="475883"/>
              <a:chOff x="605051" y="2619571"/>
              <a:chExt cx="272955" cy="272955"/>
            </a:xfrm>
          </p:grpSpPr>
          <p:sp>
            <p:nvSpPr>
              <p:cNvPr id="49" name="Oval 48"/>
              <p:cNvSpPr/>
              <p:nvPr/>
            </p:nvSpPr>
            <p:spPr>
              <a:xfrm>
                <a:off x="605051" y="2619571"/>
                <a:ext cx="272955" cy="272955"/>
              </a:xfrm>
              <a:prstGeom prst="ellipse">
                <a:avLst/>
              </a:prstGeom>
              <a:solidFill>
                <a:srgbClr val="C00000">
                  <a:alpha val="9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0" name="Oval 49"/>
              <p:cNvSpPr/>
              <p:nvPr/>
            </p:nvSpPr>
            <p:spPr>
              <a:xfrm>
                <a:off x="644059" y="2658579"/>
                <a:ext cx="194939" cy="194939"/>
              </a:xfrm>
              <a:prstGeom prst="ellipse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pic>
          <p:nvPicPr>
            <p:cNvPr id="51" name="Graphic 26" descr="Close with solid fill">
              <a:extLst>
                <a:ext uri="{FF2B5EF4-FFF2-40B4-BE49-F238E27FC236}">
                  <a16:creationId xmlns:a16="http://schemas.microsoft.com/office/drawing/2014/main" id="{49020014-3192-2417-75F9-D92087B102D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235697" y="4472732"/>
              <a:ext cx="245586" cy="245586"/>
            </a:xfrm>
            <a:prstGeom prst="rect">
              <a:avLst/>
            </a:prstGeom>
          </p:spPr>
        </p:pic>
      </p:grpSp>
      <p:sp>
        <p:nvSpPr>
          <p:cNvPr id="52" name="Slide Number Placeholder 3">
            <a:extLst>
              <a:ext uri="{FF2B5EF4-FFF2-40B4-BE49-F238E27FC236}">
                <a16:creationId xmlns:a16="http://schemas.microsoft.com/office/drawing/2014/main" id="{3265E7B0-601F-44DE-11BF-3B66ECF620E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sz="1400">
                <a:solidFill>
                  <a:srgbClr val="343434"/>
                </a:solidFill>
                <a:latin typeface="Radion"/>
              </a:rPr>
              <a:t>08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69D061-4CEC-1F90-DE68-D63E8BF1BF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adigms of Q. Information processing</a:t>
            </a:r>
            <a:endParaRPr lang="en-IL" dirty="0"/>
          </a:p>
        </p:txBody>
      </p:sp>
      <p:grpSp>
        <p:nvGrpSpPr>
          <p:cNvPr id="17" name="Group 16"/>
          <p:cNvGrpSpPr/>
          <p:nvPr/>
        </p:nvGrpSpPr>
        <p:grpSpPr>
          <a:xfrm>
            <a:off x="7128638" y="3514429"/>
            <a:ext cx="2863823" cy="327577"/>
            <a:chOff x="7128638" y="3514429"/>
            <a:chExt cx="2863823" cy="327577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690037B-C763-64CA-8769-2E8CEEED1FF0}"/>
                </a:ext>
              </a:extLst>
            </p:cNvPr>
            <p:cNvSpPr txBox="1"/>
            <p:nvPr/>
          </p:nvSpPr>
          <p:spPr>
            <a:xfrm>
              <a:off x="7540606" y="3534280"/>
              <a:ext cx="2451855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US" sz="1600" dirty="0">
                  <a:solidFill>
                    <a:schemeClr val="bg2"/>
                  </a:solidFill>
                  <a:latin typeface="Radion B" panose="020B0502030000000004" pitchFamily="34" charset="0"/>
                  <a:ea typeface="+mn-lt"/>
                  <a:cs typeface="+mn-lt"/>
                </a:rPr>
                <a:t>Efficient control</a:t>
              </a:r>
            </a:p>
          </p:txBody>
        </p:sp>
        <p:grpSp>
          <p:nvGrpSpPr>
            <p:cNvPr id="46" name="Group 45"/>
            <p:cNvGrpSpPr/>
            <p:nvPr/>
          </p:nvGrpSpPr>
          <p:grpSpPr>
            <a:xfrm>
              <a:off x="7128638" y="3514429"/>
              <a:ext cx="327577" cy="327577"/>
              <a:chOff x="251997" y="2068815"/>
              <a:chExt cx="475883" cy="475883"/>
            </a:xfrm>
          </p:grpSpPr>
          <p:grpSp>
            <p:nvGrpSpPr>
              <p:cNvPr id="48" name="Group 47"/>
              <p:cNvGrpSpPr/>
              <p:nvPr/>
            </p:nvGrpSpPr>
            <p:grpSpPr>
              <a:xfrm>
                <a:off x="251997" y="2068815"/>
                <a:ext cx="475883" cy="475883"/>
                <a:chOff x="605051" y="2619571"/>
                <a:chExt cx="272955" cy="272955"/>
              </a:xfrm>
            </p:grpSpPr>
            <p:sp>
              <p:nvSpPr>
                <p:cNvPr id="55" name="Oval 54"/>
                <p:cNvSpPr/>
                <p:nvPr/>
              </p:nvSpPr>
              <p:spPr>
                <a:xfrm>
                  <a:off x="605051" y="2619571"/>
                  <a:ext cx="272955" cy="272955"/>
                </a:xfrm>
                <a:prstGeom prst="ellipse">
                  <a:avLst/>
                </a:prstGeom>
                <a:solidFill>
                  <a:schemeClr val="accent1">
                    <a:alpha val="9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56" name="Oval 55"/>
                <p:cNvSpPr/>
                <p:nvPr/>
              </p:nvSpPr>
              <p:spPr>
                <a:xfrm>
                  <a:off x="644059" y="2658579"/>
                  <a:ext cx="194939" cy="194939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pic>
            <p:nvPicPr>
              <p:cNvPr id="54" name="Graphic 6" descr="Checkmark with solid fill">
                <a:extLst>
                  <a:ext uri="{FF2B5EF4-FFF2-40B4-BE49-F238E27FC236}">
                    <a16:creationId xmlns:a16="http://schemas.microsoft.com/office/drawing/2014/main" id="{5AAB9D85-A9DF-76EC-EE75-23F2038F7A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hq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373777" y="2185951"/>
                <a:ext cx="251299" cy="251299"/>
              </a:xfrm>
              <a:prstGeom prst="rect">
                <a:avLst/>
              </a:prstGeom>
            </p:spPr>
          </p:pic>
        </p:grpSp>
      </p:grpSp>
      <p:grpSp>
        <p:nvGrpSpPr>
          <p:cNvPr id="57" name="Group 56"/>
          <p:cNvGrpSpPr/>
          <p:nvPr/>
        </p:nvGrpSpPr>
        <p:grpSpPr>
          <a:xfrm>
            <a:off x="7128638" y="3921535"/>
            <a:ext cx="327577" cy="327577"/>
            <a:chOff x="251997" y="2068815"/>
            <a:chExt cx="475883" cy="475883"/>
          </a:xfrm>
        </p:grpSpPr>
        <p:grpSp>
          <p:nvGrpSpPr>
            <p:cNvPr id="58" name="Group 57"/>
            <p:cNvGrpSpPr/>
            <p:nvPr/>
          </p:nvGrpSpPr>
          <p:grpSpPr>
            <a:xfrm>
              <a:off x="251997" y="2068815"/>
              <a:ext cx="475883" cy="475883"/>
              <a:chOff x="605051" y="2619571"/>
              <a:chExt cx="272955" cy="272955"/>
            </a:xfrm>
          </p:grpSpPr>
          <p:sp>
            <p:nvSpPr>
              <p:cNvPr id="60" name="Oval 59"/>
              <p:cNvSpPr/>
              <p:nvPr/>
            </p:nvSpPr>
            <p:spPr>
              <a:xfrm>
                <a:off x="605051" y="2619571"/>
                <a:ext cx="272955" cy="272955"/>
              </a:xfrm>
              <a:prstGeom prst="ellipse">
                <a:avLst/>
              </a:prstGeom>
              <a:solidFill>
                <a:schemeClr val="accent1">
                  <a:alpha val="9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1" name="Oval 60"/>
              <p:cNvSpPr/>
              <p:nvPr/>
            </p:nvSpPr>
            <p:spPr>
              <a:xfrm>
                <a:off x="644059" y="2658579"/>
                <a:ext cx="194939" cy="194939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pic>
          <p:nvPicPr>
            <p:cNvPr id="59" name="Graphic 6" descr="Checkmark with solid fill">
              <a:extLst>
                <a:ext uri="{FF2B5EF4-FFF2-40B4-BE49-F238E27FC236}">
                  <a16:creationId xmlns:a16="http://schemas.microsoft.com/office/drawing/2014/main" id="{5AAB9D85-A9DF-76EC-EE75-23F2038F7A9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73777" y="2185951"/>
              <a:ext cx="251299" cy="2512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292738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26669D-1182-2824-B373-032D3D6EDB7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5</a:t>
            </a:fld>
            <a:endParaRPr lang="e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9568EA-4855-8261-F0A8-278C45388809}"/>
              </a:ext>
            </a:extLst>
          </p:cNvPr>
          <p:cNvSpPr txBox="1">
            <a:spLocks/>
          </p:cNvSpPr>
          <p:nvPr/>
        </p:nvSpPr>
        <p:spPr>
          <a:xfrm>
            <a:off x="786399" y="374536"/>
            <a:ext cx="11940002" cy="82458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 u="none" strike="noStrike" cap="none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Inter ExtraBold"/>
              <a:buNone/>
              <a:defRPr sz="1867" b="0" i="0" u="none" strike="noStrike" cap="none">
                <a:solidFill>
                  <a:srgbClr val="000000"/>
                </a:solidFill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Inter ExtraBold"/>
              <a:buNone/>
              <a:defRPr sz="1867" b="0" i="0" u="none" strike="noStrike" cap="none">
                <a:solidFill>
                  <a:srgbClr val="000000"/>
                </a:solidFill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Inter ExtraBold"/>
              <a:buNone/>
              <a:defRPr sz="1867" b="0" i="0" u="none" strike="noStrike" cap="none">
                <a:solidFill>
                  <a:srgbClr val="000000"/>
                </a:solidFill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Inter ExtraBold"/>
              <a:buNone/>
              <a:defRPr sz="1867" b="0" i="0" u="none" strike="noStrike" cap="none">
                <a:solidFill>
                  <a:srgbClr val="000000"/>
                </a:solidFill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Inter ExtraBold"/>
              <a:buNone/>
              <a:defRPr sz="1867" b="0" i="0" u="none" strike="noStrike" cap="none">
                <a:solidFill>
                  <a:srgbClr val="000000"/>
                </a:solidFill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Inter ExtraBold"/>
              <a:buNone/>
              <a:defRPr sz="1867" b="0" i="0" u="none" strike="noStrike" cap="none">
                <a:solidFill>
                  <a:srgbClr val="000000"/>
                </a:solidFill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Inter ExtraBold"/>
              <a:buNone/>
              <a:defRPr sz="1867" b="0" i="0" u="none" strike="noStrike" cap="none">
                <a:solidFill>
                  <a:srgbClr val="000000"/>
                </a:solidFill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Inter ExtraBold"/>
              <a:buNone/>
              <a:defRPr sz="1867" b="0" i="0" u="none" strike="noStrike" cap="none">
                <a:solidFill>
                  <a:srgbClr val="000000"/>
                </a:solidFill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r>
              <a:rPr lang="en-US" sz="4000" kern="0" dirty="0">
                <a:solidFill>
                  <a:srgbClr val="343434"/>
                </a:solidFill>
                <a:latin typeface="Radion"/>
              </a:rPr>
              <a:t>FPQA = Efficient Problem Encoding</a:t>
            </a:r>
            <a:br>
              <a:rPr lang="en-US" sz="4000" kern="0" dirty="0">
                <a:latin typeface="Radion"/>
              </a:rPr>
            </a:br>
            <a:endParaRPr lang="en-US" sz="4000" kern="0" dirty="0">
              <a:solidFill>
                <a:srgbClr val="343434"/>
              </a:solidFill>
              <a:latin typeface="Radion"/>
            </a:endParaRPr>
          </a:p>
        </p:txBody>
      </p:sp>
      <p:sp>
        <p:nvSpPr>
          <p:cNvPr id="6" name="Right Arrow 5">
            <a:extLst>
              <a:ext uri="{FF2B5EF4-FFF2-40B4-BE49-F238E27FC236}">
                <a16:creationId xmlns:a16="http://schemas.microsoft.com/office/drawing/2014/main" id="{AC41EEAD-2513-8339-BFE8-DF358C2F387E}"/>
              </a:ext>
            </a:extLst>
          </p:cNvPr>
          <p:cNvSpPr/>
          <p:nvPr/>
        </p:nvSpPr>
        <p:spPr>
          <a:xfrm>
            <a:off x="4004147" y="2934966"/>
            <a:ext cx="500644" cy="824589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ight Arrow 6">
            <a:extLst>
              <a:ext uri="{FF2B5EF4-FFF2-40B4-BE49-F238E27FC236}">
                <a16:creationId xmlns:a16="http://schemas.microsoft.com/office/drawing/2014/main" id="{16AEAA24-203F-0064-6399-F0458082319F}"/>
              </a:ext>
            </a:extLst>
          </p:cNvPr>
          <p:cNvSpPr/>
          <p:nvPr/>
        </p:nvSpPr>
        <p:spPr>
          <a:xfrm>
            <a:off x="7893684" y="2965677"/>
            <a:ext cx="500644" cy="824589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75BEAFA-6BCC-0ADA-DE13-A2D40C259B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0278" y="2265250"/>
            <a:ext cx="2718164" cy="2743200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9" name="Picture 8" descr="A close-up of a map&#10;&#10;Description automatically generated with low confidence">
            <a:extLst>
              <a:ext uri="{FF2B5EF4-FFF2-40B4-BE49-F238E27FC236}">
                <a16:creationId xmlns:a16="http://schemas.microsoft.com/office/drawing/2014/main" id="{38DBB2C3-E2BB-662F-1787-CBDE77B87D6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5376" y="2265250"/>
            <a:ext cx="2750033" cy="2743200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5953370-4859-7D67-684C-24239EC3E82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9053" t="56367" r="28730" b="10450"/>
          <a:stretch/>
        </p:blipFill>
        <p:spPr>
          <a:xfrm>
            <a:off x="4798063" y="2259130"/>
            <a:ext cx="2743233" cy="27432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06646F5-8BDA-C331-079E-B7A0107FA90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8592" t="56738" r="28163" b="9797"/>
          <a:stretch/>
        </p:blipFill>
        <p:spPr>
          <a:xfrm>
            <a:off x="4821677" y="2259130"/>
            <a:ext cx="2728749" cy="27432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AE3015D-FC2B-74B5-68A9-6561581D4165}"/>
              </a:ext>
            </a:extLst>
          </p:cNvPr>
          <p:cNvSpPr txBox="1"/>
          <p:nvPr/>
        </p:nvSpPr>
        <p:spPr>
          <a:xfrm>
            <a:off x="1030277" y="1712595"/>
            <a:ext cx="270106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bg2"/>
                </a:solidFill>
              </a:rPr>
              <a:t>Problem: choosing optimal locations in Bost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72DBD8F-C113-C775-1AC0-B1381E58A811}"/>
              </a:ext>
            </a:extLst>
          </p:cNvPr>
          <p:cNvSpPr txBox="1"/>
          <p:nvPr/>
        </p:nvSpPr>
        <p:spPr>
          <a:xfrm>
            <a:off x="4798063" y="1712595"/>
            <a:ext cx="244634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bg2"/>
                </a:solidFill>
              </a:rPr>
              <a:t>Possible locations as atom coordinat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D960FDB-A5C2-676F-2660-27B4F054EBB1}"/>
              </a:ext>
            </a:extLst>
          </p:cNvPr>
          <p:cNvSpPr txBox="1"/>
          <p:nvPr/>
        </p:nvSpPr>
        <p:spPr>
          <a:xfrm>
            <a:off x="8715374" y="1712595"/>
            <a:ext cx="244634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bg2"/>
                </a:solidFill>
              </a:rPr>
              <a:t>Solution</a:t>
            </a:r>
          </a:p>
        </p:txBody>
      </p:sp>
    </p:spTree>
    <p:extLst>
      <p:ext uri="{BB962C8B-B14F-4D97-AF65-F5344CB8AC3E}">
        <p14:creationId xmlns:p14="http://schemas.microsoft.com/office/powerpoint/2010/main" val="16332860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13" grpId="0"/>
      <p:bldP spid="1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C380EE-8F74-4F2B-203B-880C5EA34CB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6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FFC02C0-EAAB-4068-630C-E590A613EA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chitecture: qubits by puffing-up atom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4B097C-2B7B-87B3-F8B7-A3CA88D570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31272" y="1506858"/>
            <a:ext cx="7619218" cy="3992533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BCC31B88-87F9-2621-21D1-D6B69FAD339A}"/>
              </a:ext>
            </a:extLst>
          </p:cNvPr>
          <p:cNvGrpSpPr/>
          <p:nvPr/>
        </p:nvGrpSpPr>
        <p:grpSpPr>
          <a:xfrm>
            <a:off x="6737785" y="1937680"/>
            <a:ext cx="4977965" cy="3413462"/>
            <a:chOff x="8236148" y="4337103"/>
            <a:chExt cx="3479601" cy="2386012"/>
          </a:xfrm>
        </p:grpSpPr>
        <p:pic>
          <p:nvPicPr>
            <p:cNvPr id="2" name="Picture 2" descr="Scientists Say: Periodic table">
              <a:extLst>
                <a:ext uri="{FF2B5EF4-FFF2-40B4-BE49-F238E27FC236}">
                  <a16:creationId xmlns:a16="http://schemas.microsoft.com/office/drawing/2014/main" id="{812DB131-89B8-7424-74ED-F71ED4B645E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6148" y="4337103"/>
              <a:ext cx="3479601" cy="23860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Rounded Rectangle 2">
              <a:extLst>
                <a:ext uri="{FF2B5EF4-FFF2-40B4-BE49-F238E27FC236}">
                  <a16:creationId xmlns:a16="http://schemas.microsoft.com/office/drawing/2014/main" id="{DF789BDC-BD04-9A06-319C-8B2D34A9F6A4}"/>
                </a:ext>
              </a:extLst>
            </p:cNvPr>
            <p:cNvSpPr/>
            <p:nvPr/>
          </p:nvSpPr>
          <p:spPr>
            <a:xfrm>
              <a:off x="8299938" y="5521317"/>
              <a:ext cx="251069" cy="222991"/>
            </a:xfrm>
            <a:prstGeom prst="roundRect">
              <a:avLst/>
            </a:prstGeom>
            <a:noFill/>
            <a:ln w="571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2835682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407930-817B-B1CF-5FD0-26756DD5E471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</p:spPr>
        <p:txBody>
          <a:bodyPr/>
          <a:lstStyle/>
          <a:p>
            <a:fld id="{8D6F7969-DE8A-4F2D-ACED-901F78AB9A57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33F0C01-2194-8C52-12E4-2A2B110DBA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</p:spPr>
        <p:txBody>
          <a:bodyPr/>
          <a:lstStyle/>
          <a:p>
            <a:r>
              <a:rPr lang="en-US" dirty="0"/>
              <a:t>QPU cycle</a:t>
            </a:r>
          </a:p>
        </p:txBody>
      </p:sp>
      <p:pic>
        <p:nvPicPr>
          <p:cNvPr id="16" name="Google Shape;76;p15">
            <a:extLst>
              <a:ext uri="{FF2B5EF4-FFF2-40B4-BE49-F238E27FC236}">
                <a16:creationId xmlns:a16="http://schemas.microsoft.com/office/drawing/2014/main" id="{56A64CBC-E741-73B3-EE24-0CBC15E94ECC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r="122" b="8911"/>
          <a:stretch/>
        </p:blipFill>
        <p:spPr>
          <a:xfrm>
            <a:off x="198476" y="4398809"/>
            <a:ext cx="11652241" cy="1323516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TextBox 1">
            <a:extLst>
              <a:ext uri="{FF2B5EF4-FFF2-40B4-BE49-F238E27FC236}">
                <a16:creationId xmlns:a16="http://schemas.microsoft.com/office/drawing/2014/main" id="{83D6E81F-4B82-0F10-91A2-80A4939A9D72}"/>
              </a:ext>
            </a:extLst>
          </p:cNvPr>
          <p:cNvSpPr txBox="1"/>
          <p:nvPr/>
        </p:nvSpPr>
        <p:spPr>
          <a:xfrm>
            <a:off x="629714" y="4549074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15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18" name="TextBox 1">
            <a:extLst>
              <a:ext uri="{FF2B5EF4-FFF2-40B4-BE49-F238E27FC236}">
                <a16:creationId xmlns:a16="http://schemas.microsoft.com/office/drawing/2014/main" id="{1E3BA6F3-E702-C5CE-AAAB-D5E824C12C3B}"/>
              </a:ext>
            </a:extLst>
          </p:cNvPr>
          <p:cNvSpPr txBox="1"/>
          <p:nvPr/>
        </p:nvSpPr>
        <p:spPr>
          <a:xfrm>
            <a:off x="4036471" y="4549074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20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19" name="TextBox 1">
            <a:extLst>
              <a:ext uri="{FF2B5EF4-FFF2-40B4-BE49-F238E27FC236}">
                <a16:creationId xmlns:a16="http://schemas.microsoft.com/office/drawing/2014/main" id="{4A547654-EF2C-267D-7932-0654EF72E860}"/>
              </a:ext>
            </a:extLst>
          </p:cNvPr>
          <p:cNvSpPr txBox="1"/>
          <p:nvPr/>
        </p:nvSpPr>
        <p:spPr>
          <a:xfrm>
            <a:off x="6140084" y="4549073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15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20" name="TextBox 1">
            <a:extLst>
              <a:ext uri="{FF2B5EF4-FFF2-40B4-BE49-F238E27FC236}">
                <a16:creationId xmlns:a16="http://schemas.microsoft.com/office/drawing/2014/main" id="{243FDFA5-10DD-CAFD-9E6C-93C31CC8F2A1}"/>
              </a:ext>
            </a:extLst>
          </p:cNvPr>
          <p:cNvSpPr txBox="1"/>
          <p:nvPr/>
        </p:nvSpPr>
        <p:spPr>
          <a:xfrm>
            <a:off x="8637096" y="4543394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5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21" name="TextBox 1">
            <a:extLst>
              <a:ext uri="{FF2B5EF4-FFF2-40B4-BE49-F238E27FC236}">
                <a16:creationId xmlns:a16="http://schemas.microsoft.com/office/drawing/2014/main" id="{729E2226-2CBD-1B88-DDFA-751C7B3535DC}"/>
              </a:ext>
            </a:extLst>
          </p:cNvPr>
          <p:cNvSpPr txBox="1"/>
          <p:nvPr/>
        </p:nvSpPr>
        <p:spPr>
          <a:xfrm>
            <a:off x="2414801" y="4552426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40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22" name="TextBox 1">
            <a:extLst>
              <a:ext uri="{FF2B5EF4-FFF2-40B4-BE49-F238E27FC236}">
                <a16:creationId xmlns:a16="http://schemas.microsoft.com/office/drawing/2014/main" id="{D652AB14-29A8-90F2-7025-8B3A4D72CE6A}"/>
              </a:ext>
            </a:extLst>
          </p:cNvPr>
          <p:cNvSpPr txBox="1"/>
          <p:nvPr/>
        </p:nvSpPr>
        <p:spPr>
          <a:xfrm>
            <a:off x="9515226" y="4542987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accent6"/>
                </a:solidFill>
                <a:latin typeface="Radion B Book"/>
              </a:rPr>
              <a:t>20us</a:t>
            </a:r>
            <a:endParaRPr lang="en-US" sz="1200" dirty="0">
              <a:solidFill>
                <a:schemeClr val="accent6"/>
              </a:solidFill>
              <a:latin typeface="Radion B Book"/>
              <a:cs typeface="Calibri"/>
            </a:endParaRPr>
          </a:p>
        </p:txBody>
      </p:sp>
      <p:sp>
        <p:nvSpPr>
          <p:cNvPr id="23" name="TextBox 1">
            <a:extLst>
              <a:ext uri="{FF2B5EF4-FFF2-40B4-BE49-F238E27FC236}">
                <a16:creationId xmlns:a16="http://schemas.microsoft.com/office/drawing/2014/main" id="{05A1CE1B-2D0B-0E68-3F38-B3D9143C9E82}"/>
              </a:ext>
            </a:extLst>
          </p:cNvPr>
          <p:cNvSpPr txBox="1"/>
          <p:nvPr/>
        </p:nvSpPr>
        <p:spPr>
          <a:xfrm>
            <a:off x="5250383" y="4549074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5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24" name="TextBox 1">
            <a:extLst>
              <a:ext uri="{FF2B5EF4-FFF2-40B4-BE49-F238E27FC236}">
                <a16:creationId xmlns:a16="http://schemas.microsoft.com/office/drawing/2014/main" id="{3BD6B12E-1AC4-F124-D6B5-70D35D308370}"/>
              </a:ext>
            </a:extLst>
          </p:cNvPr>
          <p:cNvSpPr txBox="1"/>
          <p:nvPr/>
        </p:nvSpPr>
        <p:spPr>
          <a:xfrm>
            <a:off x="9149207" y="4549757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333333"/>
                </a:solidFill>
                <a:latin typeface="Radion B Book"/>
              </a:rPr>
              <a:t>5ms</a:t>
            </a:r>
            <a:endParaRPr lang="en-US" sz="1200" dirty="0">
              <a:latin typeface="Radion B Book"/>
              <a:cs typeface="Calibri"/>
            </a:endParaRPr>
          </a:p>
        </p:txBody>
      </p:sp>
      <p:sp>
        <p:nvSpPr>
          <p:cNvPr id="25" name="TextBox 1">
            <a:extLst>
              <a:ext uri="{FF2B5EF4-FFF2-40B4-BE49-F238E27FC236}">
                <a16:creationId xmlns:a16="http://schemas.microsoft.com/office/drawing/2014/main" id="{BE3C2ABE-3270-07E8-A242-1EA590C25396}"/>
              </a:ext>
            </a:extLst>
          </p:cNvPr>
          <p:cNvSpPr txBox="1"/>
          <p:nvPr/>
        </p:nvSpPr>
        <p:spPr>
          <a:xfrm>
            <a:off x="7565555" y="4549073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40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26" name="TextBox 1">
            <a:extLst>
              <a:ext uri="{FF2B5EF4-FFF2-40B4-BE49-F238E27FC236}">
                <a16:creationId xmlns:a16="http://schemas.microsoft.com/office/drawing/2014/main" id="{0DD38F61-ED19-6779-A243-B609EB7A126F}"/>
              </a:ext>
            </a:extLst>
          </p:cNvPr>
          <p:cNvSpPr txBox="1"/>
          <p:nvPr/>
        </p:nvSpPr>
        <p:spPr>
          <a:xfrm>
            <a:off x="9978079" y="4551503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333333"/>
                </a:solidFill>
                <a:latin typeface="Radion B Book"/>
              </a:rPr>
              <a:t>5ms</a:t>
            </a:r>
            <a:endParaRPr lang="en-US" sz="1200" dirty="0">
              <a:latin typeface="Radion B Book"/>
              <a:cs typeface="Calibri"/>
            </a:endParaRPr>
          </a:p>
        </p:txBody>
      </p:sp>
      <p:sp>
        <p:nvSpPr>
          <p:cNvPr id="27" name="TextBox 1">
            <a:extLst>
              <a:ext uri="{FF2B5EF4-FFF2-40B4-BE49-F238E27FC236}">
                <a16:creationId xmlns:a16="http://schemas.microsoft.com/office/drawing/2014/main" id="{C00CD694-777B-6FBF-3C2D-BF96861F4AC1}"/>
              </a:ext>
            </a:extLst>
          </p:cNvPr>
          <p:cNvSpPr txBox="1"/>
          <p:nvPr/>
        </p:nvSpPr>
        <p:spPr>
          <a:xfrm>
            <a:off x="10688256" y="4532467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15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10" name="TextBox 1">
            <a:extLst>
              <a:ext uri="{FF2B5EF4-FFF2-40B4-BE49-F238E27FC236}">
                <a16:creationId xmlns:a16="http://schemas.microsoft.com/office/drawing/2014/main" id="{80963185-B473-03B8-9645-ABEF8D0DFAEF}"/>
              </a:ext>
            </a:extLst>
          </p:cNvPr>
          <p:cNvSpPr txBox="1"/>
          <p:nvPr/>
        </p:nvSpPr>
        <p:spPr>
          <a:xfrm>
            <a:off x="9535605" y="287963"/>
            <a:ext cx="1781634" cy="1292662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333333"/>
                </a:solidFill>
                <a:latin typeface="Radion B Book"/>
              </a:rPr>
              <a:t>State detection </a:t>
            </a:r>
          </a:p>
          <a:p>
            <a:r>
              <a:rPr lang="en-US" dirty="0">
                <a:solidFill>
                  <a:srgbClr val="333333"/>
                </a:solidFill>
                <a:latin typeface="Radion B Book"/>
              </a:rPr>
              <a:t>&gt; 95%</a:t>
            </a:r>
            <a:endParaRPr lang="en-US" dirty="0"/>
          </a:p>
        </p:txBody>
      </p:sp>
      <p:pic>
        <p:nvPicPr>
          <p:cNvPr id="11" name="Picture 3">
            <a:extLst>
              <a:ext uri="{FF2B5EF4-FFF2-40B4-BE49-F238E27FC236}">
                <a16:creationId xmlns:a16="http://schemas.microsoft.com/office/drawing/2014/main" id="{269EBB27-6FF8-ACA4-5455-6C1B256E3F6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893" t="42085" r="3695" b="16815"/>
          <a:stretch/>
        </p:blipFill>
        <p:spPr>
          <a:xfrm>
            <a:off x="4036471" y="1428681"/>
            <a:ext cx="3535178" cy="1761497"/>
          </a:xfrm>
          <a:prstGeom prst="rect">
            <a:avLst/>
          </a:prstGeom>
        </p:spPr>
      </p:pic>
      <p:pic>
        <p:nvPicPr>
          <p:cNvPr id="12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3B9895D-790B-1E37-DE47-86B8E9BE69B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3210" t="42252" r="4377" b="16815"/>
          <a:stretch/>
        </p:blipFill>
        <p:spPr>
          <a:xfrm>
            <a:off x="409832" y="1432258"/>
            <a:ext cx="3535179" cy="175434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DB3B685-CB0C-26E2-8CB0-703F0ADD073E}"/>
              </a:ext>
            </a:extLst>
          </p:cNvPr>
          <p:cNvCxnSpPr>
            <a:cxnSpLocks/>
            <a:stCxn id="15" idx="2"/>
          </p:cNvCxnSpPr>
          <p:nvPr/>
        </p:nvCxnSpPr>
        <p:spPr>
          <a:xfrm>
            <a:off x="9425735" y="3187257"/>
            <a:ext cx="1000687" cy="120303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6" descr="Graphical user interface&#10;&#10;Description automatically generated">
            <a:extLst>
              <a:ext uri="{FF2B5EF4-FFF2-40B4-BE49-F238E27FC236}">
                <a16:creationId xmlns:a16="http://schemas.microsoft.com/office/drawing/2014/main" id="{7AB934EC-7AD2-7BCF-98D3-F009CBC7C5C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3292" t="42795" r="4296" b="16105"/>
          <a:stretch/>
        </p:blipFill>
        <p:spPr>
          <a:xfrm>
            <a:off x="7663109" y="1430707"/>
            <a:ext cx="3525251" cy="175655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FC3084A-207A-41E8-990F-B8C540BF88F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49184" y="558977"/>
            <a:ext cx="861477" cy="773571"/>
          </a:xfrm>
          <a:prstGeom prst="rect">
            <a:avLst/>
          </a:prstGeom>
          <a:ln>
            <a:solidFill>
              <a:schemeClr val="bg1"/>
            </a:solidFill>
            <a:prstDash val="sysDash"/>
          </a:ln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5321E6D8-C0AA-7DD2-A3AA-F08F0F8C528C}"/>
              </a:ext>
            </a:extLst>
          </p:cNvPr>
          <p:cNvSpPr/>
          <p:nvPr/>
        </p:nvSpPr>
        <p:spPr>
          <a:xfrm>
            <a:off x="8686363" y="1551865"/>
            <a:ext cx="577710" cy="544789"/>
          </a:xfrm>
          <a:prstGeom prst="rect">
            <a:avLst/>
          </a:prstGeom>
          <a:noFill/>
          <a:ln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43D7A44-D1F7-59B3-F2F2-6819DAE87475}"/>
              </a:ext>
            </a:extLst>
          </p:cNvPr>
          <p:cNvCxnSpPr>
            <a:cxnSpLocks/>
            <a:stCxn id="28" idx="2"/>
            <a:endCxn id="29" idx="0"/>
          </p:cNvCxnSpPr>
          <p:nvPr/>
        </p:nvCxnSpPr>
        <p:spPr>
          <a:xfrm flipH="1">
            <a:off x="8975218" y="1332548"/>
            <a:ext cx="4705" cy="219317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75925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0DD0031-F07B-6F57-252B-2DC9E737DFC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8</a:t>
            </a:fld>
            <a:endParaRPr lang="en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D87F48A-039C-62A2-371E-E6A717D22D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qubit control really looks like:</a:t>
            </a:r>
          </a:p>
        </p:txBody>
      </p:sp>
      <p:pic>
        <p:nvPicPr>
          <p:cNvPr id="5" name="Aquila_demo_v2_singles_2pi">
            <a:hlinkClick r:id="" action="ppaction://media"/>
            <a:extLst>
              <a:ext uri="{FF2B5EF4-FFF2-40B4-BE49-F238E27FC236}">
                <a16:creationId xmlns:a16="http://schemas.microsoft.com/office/drawing/2014/main" id="{C81BB94F-F679-976C-06D9-A7121BB959B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575977" y="2219586"/>
            <a:ext cx="10615215" cy="340156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65960F9F-02A4-B334-ABC9-165759422C5A}"/>
                  </a:ext>
                </a:extLst>
              </p:cNvPr>
              <p:cNvSpPr txBox="1"/>
              <p:nvPr/>
            </p:nvSpPr>
            <p:spPr>
              <a:xfrm>
                <a:off x="5318975" y="1423042"/>
                <a:ext cx="112922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</a:rPr>
                        <m:t>2</m:t>
                      </m:r>
                      <m:r>
                        <a:rPr lang="en-US" b="0" i="1" smtClean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</a:rPr>
                        <m:t>𝜋</m:t>
                      </m:r>
                      <m:r>
                        <a:rPr lang="en-US" b="0" i="1" smtClean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</a:rPr>
                        <m:t>𝑝𝑢𝑙𝑠𝑒</m:t>
                      </m:r>
                    </m:oMath>
                  </m:oMathPara>
                </a14:m>
                <a:endParaRPr lang="en-US" dirty="0">
                  <a:solidFill>
                    <a:schemeClr val="accent1"/>
                  </a:solidFill>
                </a:endParaRPr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65960F9F-02A4-B334-ABC9-165759422C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18975" y="1423042"/>
                <a:ext cx="1129220" cy="369332"/>
              </a:xfrm>
              <a:prstGeom prst="rect">
                <a:avLst/>
              </a:prstGeom>
              <a:blipFill>
                <a:blip r:embed="rId5"/>
                <a:stretch>
                  <a:fillRect b="-161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0" name="Group 9">
            <a:extLst>
              <a:ext uri="{FF2B5EF4-FFF2-40B4-BE49-F238E27FC236}">
                <a16:creationId xmlns:a16="http://schemas.microsoft.com/office/drawing/2014/main" id="{E1F4D339-FB0F-71FB-6010-200FBF3F7A99}"/>
              </a:ext>
            </a:extLst>
          </p:cNvPr>
          <p:cNvGrpSpPr/>
          <p:nvPr/>
        </p:nvGrpSpPr>
        <p:grpSpPr>
          <a:xfrm>
            <a:off x="7482625" y="1275008"/>
            <a:ext cx="631065" cy="631065"/>
            <a:chOff x="7482625" y="1275008"/>
            <a:chExt cx="631065" cy="631065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FB159C5F-DDCD-C605-0C00-EE31F813F6F2}"/>
                </a:ext>
              </a:extLst>
            </p:cNvPr>
            <p:cNvSpPr/>
            <p:nvPr/>
          </p:nvSpPr>
          <p:spPr>
            <a:xfrm>
              <a:off x="7482625" y="1275008"/>
              <a:ext cx="631065" cy="631065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2482AE1-9F55-BABC-32F0-8D8617B1A49C}"/>
                </a:ext>
              </a:extLst>
            </p:cNvPr>
            <p:cNvCxnSpPr>
              <a:endCxn id="7" idx="0"/>
            </p:cNvCxnSpPr>
            <p:nvPr/>
          </p:nvCxnSpPr>
          <p:spPr>
            <a:xfrm flipV="1">
              <a:off x="7791718" y="1275008"/>
              <a:ext cx="6440" cy="32197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61DEDB2-D708-8FCA-19D7-EB08C12572DE}"/>
              </a:ext>
            </a:extLst>
          </p:cNvPr>
          <p:cNvGrpSpPr/>
          <p:nvPr/>
        </p:nvGrpSpPr>
        <p:grpSpPr>
          <a:xfrm>
            <a:off x="8678213" y="1292175"/>
            <a:ext cx="631065" cy="631065"/>
            <a:chOff x="7482625" y="1275008"/>
            <a:chExt cx="631065" cy="631065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2760BCDB-6004-7D4F-973F-BFD93CA468C7}"/>
                </a:ext>
              </a:extLst>
            </p:cNvPr>
            <p:cNvSpPr/>
            <p:nvPr/>
          </p:nvSpPr>
          <p:spPr>
            <a:xfrm>
              <a:off x="7482625" y="1275008"/>
              <a:ext cx="631065" cy="631065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1207CCFB-9AED-26C3-0F8C-F7408417F6CD}"/>
                </a:ext>
              </a:extLst>
            </p:cNvPr>
            <p:cNvCxnSpPr>
              <a:endCxn id="12" idx="0"/>
            </p:cNvCxnSpPr>
            <p:nvPr/>
          </p:nvCxnSpPr>
          <p:spPr>
            <a:xfrm flipV="1">
              <a:off x="7791718" y="1275008"/>
              <a:ext cx="6440" cy="32197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ight Arrow 13">
            <a:extLst>
              <a:ext uri="{FF2B5EF4-FFF2-40B4-BE49-F238E27FC236}">
                <a16:creationId xmlns:a16="http://schemas.microsoft.com/office/drawing/2014/main" id="{EB74EA6B-A589-F9EA-FCB8-B846A34A3514}"/>
              </a:ext>
            </a:extLst>
          </p:cNvPr>
          <p:cNvSpPr/>
          <p:nvPr/>
        </p:nvSpPr>
        <p:spPr>
          <a:xfrm>
            <a:off x="8242479" y="1551903"/>
            <a:ext cx="360608" cy="9355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9565213-AA4A-E8A0-CC21-381F2753C097}"/>
              </a:ext>
            </a:extLst>
          </p:cNvPr>
          <p:cNvSpPr/>
          <p:nvPr/>
        </p:nvSpPr>
        <p:spPr>
          <a:xfrm>
            <a:off x="7482625" y="1551903"/>
            <a:ext cx="631065" cy="93558"/>
          </a:xfrm>
          <a:prstGeom prst="ellipse">
            <a:avLst/>
          </a:prstGeom>
          <a:noFill/>
          <a:ln w="3175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88BE1A4-BE17-8625-A32B-09210B7CF56A}"/>
              </a:ext>
            </a:extLst>
          </p:cNvPr>
          <p:cNvSpPr/>
          <p:nvPr/>
        </p:nvSpPr>
        <p:spPr>
          <a:xfrm>
            <a:off x="8667481" y="1564782"/>
            <a:ext cx="631065" cy="93558"/>
          </a:xfrm>
          <a:prstGeom prst="ellipse">
            <a:avLst/>
          </a:prstGeom>
          <a:noFill/>
          <a:ln w="3175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9383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528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9168B3F-47FD-1064-6D2A-B87A7B9A937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9</a:t>
            </a:fld>
            <a:endParaRPr lang="en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0331791-AE29-5958-6E4B-BC99D4001D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qubit control really looks like:</a:t>
            </a:r>
          </a:p>
        </p:txBody>
      </p:sp>
      <p:pic>
        <p:nvPicPr>
          <p:cNvPr id="3" name="Aquila_demo_v2_singles_pi2">
            <a:hlinkClick r:id="" action="ppaction://media"/>
            <a:extLst>
              <a:ext uri="{FF2B5EF4-FFF2-40B4-BE49-F238E27FC236}">
                <a16:creationId xmlns:a16="http://schemas.microsoft.com/office/drawing/2014/main" id="{2C0A58A6-B4A1-F62C-6283-DCFE2975D72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632883" y="2245672"/>
            <a:ext cx="10615216" cy="3401568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3F44D209-EBD0-3330-4C52-BC6617F575A3}"/>
              </a:ext>
            </a:extLst>
          </p:cNvPr>
          <p:cNvGrpSpPr/>
          <p:nvPr/>
        </p:nvGrpSpPr>
        <p:grpSpPr>
          <a:xfrm>
            <a:off x="5318975" y="1275008"/>
            <a:ext cx="3990303" cy="648232"/>
            <a:chOff x="5318975" y="1275008"/>
            <a:chExt cx="3990303" cy="648232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" name="TextBox 4">
                  <a:extLst>
                    <a:ext uri="{FF2B5EF4-FFF2-40B4-BE49-F238E27FC236}">
                      <a16:creationId xmlns:a16="http://schemas.microsoft.com/office/drawing/2014/main" id="{6781E31E-EF67-CE2A-E803-237D1FB1C23B}"/>
                    </a:ext>
                  </a:extLst>
                </p:cNvPr>
                <p:cNvSpPr txBox="1"/>
                <p:nvPr/>
              </p:nvSpPr>
              <p:spPr>
                <a:xfrm>
                  <a:off x="5318975" y="1442435"/>
                  <a:ext cx="1243033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𝜋</m:t>
                        </m:r>
                        <m:r>
                          <a:rPr lang="en-US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/2 </m:t>
                        </m:r>
                        <m:r>
                          <a:rPr lang="en-US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𝑝𝑢𝑙𝑠𝑒</m:t>
                        </m:r>
                      </m:oMath>
                    </m:oMathPara>
                  </a14:m>
                  <a:endParaRPr lang="en-US" dirty="0">
                    <a:solidFill>
                      <a:schemeClr val="accent1"/>
                    </a:solidFill>
                  </a:endParaRPr>
                </a:p>
              </p:txBody>
            </p:sp>
          </mc:Choice>
          <mc:Fallback xmlns="">
            <p:sp>
              <p:nvSpPr>
                <p:cNvPr id="5" name="TextBox 4">
                  <a:extLst>
                    <a:ext uri="{FF2B5EF4-FFF2-40B4-BE49-F238E27FC236}">
                      <a16:creationId xmlns:a16="http://schemas.microsoft.com/office/drawing/2014/main" id="{6781E31E-EF67-CE2A-E803-237D1FB1C23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318975" y="1442435"/>
                  <a:ext cx="1243033" cy="369332"/>
                </a:xfrm>
                <a:prstGeom prst="rect">
                  <a:avLst/>
                </a:prstGeom>
                <a:blipFill>
                  <a:blip r:embed="rId5"/>
                  <a:stretch>
                    <a:fillRect b="-20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A3B1F2F6-B112-1C8F-FC38-3C427494C491}"/>
                </a:ext>
              </a:extLst>
            </p:cNvPr>
            <p:cNvGrpSpPr/>
            <p:nvPr/>
          </p:nvGrpSpPr>
          <p:grpSpPr>
            <a:xfrm>
              <a:off x="7482625" y="1275008"/>
              <a:ext cx="1826653" cy="648232"/>
              <a:chOff x="7482625" y="1275008"/>
              <a:chExt cx="1826653" cy="648232"/>
            </a:xfrm>
          </p:grpSpPr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998D30E7-F59E-3341-9018-CBC3E089EF47}"/>
                  </a:ext>
                </a:extLst>
              </p:cNvPr>
              <p:cNvGrpSpPr/>
              <p:nvPr/>
            </p:nvGrpSpPr>
            <p:grpSpPr>
              <a:xfrm>
                <a:off x="7482625" y="1275008"/>
                <a:ext cx="631065" cy="631065"/>
                <a:chOff x="7482625" y="1275008"/>
                <a:chExt cx="631065" cy="631065"/>
              </a:xfrm>
            </p:grpSpPr>
            <p:sp>
              <p:nvSpPr>
                <p:cNvPr id="8" name="Oval 7">
                  <a:extLst>
                    <a:ext uri="{FF2B5EF4-FFF2-40B4-BE49-F238E27FC236}">
                      <a16:creationId xmlns:a16="http://schemas.microsoft.com/office/drawing/2014/main" id="{2E232A07-1C8F-BBB3-6C3B-A176C6FD3374}"/>
                    </a:ext>
                  </a:extLst>
                </p:cNvPr>
                <p:cNvSpPr/>
                <p:nvPr/>
              </p:nvSpPr>
              <p:spPr>
                <a:xfrm>
                  <a:off x="7482625" y="1275008"/>
                  <a:ext cx="631065" cy="631065"/>
                </a:xfrm>
                <a:prstGeom prst="ellipse">
                  <a:avLst/>
                </a:prstGeom>
                <a:noFill/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9" name="Straight Arrow Connector 8">
                  <a:extLst>
                    <a:ext uri="{FF2B5EF4-FFF2-40B4-BE49-F238E27FC236}">
                      <a16:creationId xmlns:a16="http://schemas.microsoft.com/office/drawing/2014/main" id="{327B4D3E-2BA0-E8EF-3E5F-7753D17C177B}"/>
                    </a:ext>
                  </a:extLst>
                </p:cNvPr>
                <p:cNvCxnSpPr>
                  <a:endCxn id="8" idx="0"/>
                </p:cNvCxnSpPr>
                <p:nvPr/>
              </p:nvCxnSpPr>
              <p:spPr>
                <a:xfrm flipV="1">
                  <a:off x="7791718" y="1275008"/>
                  <a:ext cx="6440" cy="321972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288AFE3E-6B8C-83CB-384E-2893EFF9AFCE}"/>
                  </a:ext>
                </a:extLst>
              </p:cNvPr>
              <p:cNvGrpSpPr/>
              <p:nvPr/>
            </p:nvGrpSpPr>
            <p:grpSpPr>
              <a:xfrm>
                <a:off x="8678213" y="1292175"/>
                <a:ext cx="631065" cy="631065"/>
                <a:chOff x="7482625" y="1275008"/>
                <a:chExt cx="631065" cy="631065"/>
              </a:xfrm>
            </p:grpSpPr>
            <p:sp>
              <p:nvSpPr>
                <p:cNvPr id="11" name="Oval 10">
                  <a:extLst>
                    <a:ext uri="{FF2B5EF4-FFF2-40B4-BE49-F238E27FC236}">
                      <a16:creationId xmlns:a16="http://schemas.microsoft.com/office/drawing/2014/main" id="{0917506A-2B7E-C029-0B80-6522F5CDA582}"/>
                    </a:ext>
                  </a:extLst>
                </p:cNvPr>
                <p:cNvSpPr/>
                <p:nvPr/>
              </p:nvSpPr>
              <p:spPr>
                <a:xfrm>
                  <a:off x="7482625" y="1275008"/>
                  <a:ext cx="631065" cy="631065"/>
                </a:xfrm>
                <a:prstGeom prst="ellipse">
                  <a:avLst/>
                </a:prstGeom>
                <a:noFill/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2" name="Straight Arrow Connector 11">
                  <a:extLst>
                    <a:ext uri="{FF2B5EF4-FFF2-40B4-BE49-F238E27FC236}">
                      <a16:creationId xmlns:a16="http://schemas.microsoft.com/office/drawing/2014/main" id="{29D392D2-DA4F-6952-D588-82726BB9BEC3}"/>
                    </a:ext>
                  </a:extLst>
                </p:cNvPr>
                <p:cNvCxnSpPr>
                  <a:cxnSpLocks/>
                  <a:endCxn id="11" idx="2"/>
                </p:cNvCxnSpPr>
                <p:nvPr/>
              </p:nvCxnSpPr>
              <p:spPr>
                <a:xfrm flipH="1" flipV="1">
                  <a:off x="7482625" y="1590541"/>
                  <a:ext cx="309093" cy="6439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3" name="Right Arrow 12">
                <a:extLst>
                  <a:ext uri="{FF2B5EF4-FFF2-40B4-BE49-F238E27FC236}">
                    <a16:creationId xmlns:a16="http://schemas.microsoft.com/office/drawing/2014/main" id="{E80DDCC8-FEE1-1513-81E1-AE2E533B0B11}"/>
                  </a:ext>
                </a:extLst>
              </p:cNvPr>
              <p:cNvSpPr/>
              <p:nvPr/>
            </p:nvSpPr>
            <p:spPr>
              <a:xfrm>
                <a:off x="8242479" y="1551903"/>
                <a:ext cx="360608" cy="93558"/>
              </a:xfrm>
              <a:prstGeom prst="rightArrow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87AD5E7E-E252-5548-F9C3-A67DC6D80ED1}"/>
                  </a:ext>
                </a:extLst>
              </p:cNvPr>
              <p:cNvSpPr/>
              <p:nvPr/>
            </p:nvSpPr>
            <p:spPr>
              <a:xfrm>
                <a:off x="7482625" y="1551903"/>
                <a:ext cx="631065" cy="93558"/>
              </a:xfrm>
              <a:prstGeom prst="ellipse">
                <a:avLst/>
              </a:prstGeom>
              <a:noFill/>
              <a:ln w="317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86C006BD-6C3F-9D69-F427-C3BB6EDCD748}"/>
                  </a:ext>
                </a:extLst>
              </p:cNvPr>
              <p:cNvSpPr/>
              <p:nvPr/>
            </p:nvSpPr>
            <p:spPr>
              <a:xfrm>
                <a:off x="8667481" y="1564782"/>
                <a:ext cx="631065" cy="93558"/>
              </a:xfrm>
              <a:prstGeom prst="ellipse">
                <a:avLst/>
              </a:prstGeom>
              <a:noFill/>
              <a:ln w="317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105855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977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4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5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gBAQEBAQEBAQEBAQEBAQIAAAAAAAAAAwAAAAMAAAAA/////wQAMwwAAAAAAAAAAAAAIAD///////////////8AAAD///////////////8DAAAAAw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4inYzHZEfxNn8/xrvHTsPoFAAAAAAADAAAAAwADAAAAAQADAAAAAAD///////8DAAAAAAD///////8DAAEA////////BAAAAAMAEAALv686E19esUOnfjpUUCg2ew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NgLAAAAAAAAAAAAACAB////////////////AAAA////////////////BAAAAAMA////////BAAAAAMA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CAEDAAAAAwD///////8lAAZMaW5rZWRTaGFwZVByZXNlbnRhdGlvblNldHRpbmdzRGF0YV8wBQAAAAEABAAAAAAABAAAAAIABAAAAAAA////////BAAAAAAA////////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IinYzHZEfxNn8/xrvHTsPoDRGF0YQAbAAAABExpbmtlZFNoYXBlRGF0YQAFAAAAAAACTmFtZQAZAAAATGlua2VkU2hhcGVzRGF0YVByb3BlcnR5ABBWZXJzaW9uAAAAAAAJTGFzdFdyaXRlAGrbgCOBAQAAAAEA/////8YAxgAAAAVfaWQAEAAAAAS/rzoTX16xQ6d+OlRQKDZ7A0RhdGEAUwAAAAhQcmVzZW50YXRpb25TY2FubmVkRm9yTGlua2VkU2hhcGVzAAECTnVtYmVyRm9ybWF0U2VwYXJhdG9yTW9kZQAKAAAAQXV0b21hdGljAAACTmFtZQAkAAAATGlua2VkU2hhcGVQcmVzZW50YXRpb25TZXR0aW5nc0RhdGEAEFZlcnNpb24AAAAAAAlMYXN0V3JpdGUAmNuAI4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1_QuEra_light">
  <a:themeElements>
    <a:clrScheme name="QuEra">
      <a:dk1>
        <a:srgbClr val="000000"/>
      </a:dk1>
      <a:lt1>
        <a:srgbClr val="FFFFFF"/>
      </a:lt1>
      <a:dk2>
        <a:srgbClr val="333333"/>
      </a:dk2>
      <a:lt2>
        <a:srgbClr val="E6E6E6"/>
      </a:lt2>
      <a:accent1>
        <a:srgbClr val="6437FF"/>
      </a:accent1>
      <a:accent2>
        <a:srgbClr val="979797"/>
      </a:accent2>
      <a:accent3>
        <a:srgbClr val="FF505D"/>
      </a:accent3>
      <a:accent4>
        <a:srgbClr val="333333"/>
      </a:accent4>
      <a:accent5>
        <a:srgbClr val="16EBFF"/>
      </a:accent5>
      <a:accent6>
        <a:srgbClr val="B137FF"/>
      </a:accent6>
      <a:hlink>
        <a:srgbClr val="6437FF"/>
      </a:hlink>
      <a:folHlink>
        <a:srgbClr val="97979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39B3B2693E46C4987ECCC3D8DB1A68E" ma:contentTypeVersion="18" ma:contentTypeDescription="Create a new document." ma:contentTypeScope="" ma:versionID="71f8a727a40848655f16b37e3b88b0be">
  <xsd:schema xmlns:xsd="http://www.w3.org/2001/XMLSchema" xmlns:xs="http://www.w3.org/2001/XMLSchema" xmlns:p="http://schemas.microsoft.com/office/2006/metadata/properties" xmlns:ns2="3f1cb28f-e161-430a-a5ee-6c05505d9d17" xmlns:ns3="3d796ce7-8c32-4527-8c59-d29d96352485" targetNamespace="http://schemas.microsoft.com/office/2006/metadata/properties" ma:root="true" ma:fieldsID="d55cba36ec2f6e8e6b20ef91431f8414" ns2:_="" ns3:_="">
    <xsd:import namespace="3f1cb28f-e161-430a-a5ee-6c05505d9d17"/>
    <xsd:import namespace="3d796ce7-8c32-4527-8c59-d29d9635248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MediaServiceDateTaken" minOccurs="0"/>
                <xsd:element ref="ns3:MediaServiceLocation" minOccurs="0"/>
                <xsd:element ref="ns3:lcf76f155ced4ddcb4097134ff3c332f" minOccurs="0"/>
                <xsd:element ref="ns2:TaxCatchAll" minOccurs="0"/>
                <xsd:element ref="ns3:email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1cb28f-e161-430a-a5ee-6c05505d9d1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97e3d552-8d7f-4c5f-992f-e077e2852c31}" ma:internalName="TaxCatchAll" ma:showField="CatchAllData" ma:web="3f1cb28f-e161-430a-a5ee-6c05505d9d1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796ce7-8c32-4527-8c59-d29d9635248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092297be-0fa6-44d4-8a6d-bc04bc62ead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email" ma:index="24" nillable="true" ma:displayName="email" ma:format="Dropdown" ma:internalName="email">
      <xsd:simpleType>
        <xsd:restriction base="dms:Text">
          <xsd:maxLength value="255"/>
        </xsd:restriction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f1cb28f-e161-430a-a5ee-6c05505d9d17" xsi:nil="true"/>
    <lcf76f155ced4ddcb4097134ff3c332f xmlns="3d796ce7-8c32-4527-8c59-d29d96352485">
      <Terms xmlns="http://schemas.microsoft.com/office/infopath/2007/PartnerControls"/>
    </lcf76f155ced4ddcb4097134ff3c332f>
    <email xmlns="3d796ce7-8c32-4527-8c59-d29d96352485" xsi:nil="true"/>
    <MediaLengthInSeconds xmlns="3d796ce7-8c32-4527-8c59-d29d96352485" xsi:nil="true"/>
    <SharedWithUsers xmlns="3f1cb28f-e161-430a-a5ee-6c05505d9d17">
      <UserInfo>
        <DisplayName/>
        <AccountId xsi:nil="true"/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AC59E43-8428-4D88-A737-DBD1692DBFE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f1cb28f-e161-430a-a5ee-6c05505d9d17"/>
    <ds:schemaRef ds:uri="3d796ce7-8c32-4527-8c59-d29d963524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C82BB6D-3613-481A-AE07-F8CF0CAFCE25}">
  <ds:schemaRefs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http://purl.org/dc/elements/1.1/"/>
    <ds:schemaRef ds:uri="3d796ce7-8c32-4527-8c59-d29d96352485"/>
    <ds:schemaRef ds:uri="3f1cb28f-e161-430a-a5ee-6c05505d9d17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8C3A7CE1-D949-4A93-BCC2-C4C26A3FC76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QuEra_light</Template>
  <TotalTime>11133</TotalTime>
  <Words>422</Words>
  <Application>Microsoft Macintosh PowerPoint</Application>
  <PresentationFormat>Widescreen</PresentationFormat>
  <Paragraphs>121</Paragraphs>
  <Slides>18</Slides>
  <Notes>1</Notes>
  <HiddenSlides>0</HiddenSlides>
  <MMClips>2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1" baseType="lpstr">
      <vt:lpstr>Inter ExtraBold</vt:lpstr>
      <vt:lpstr>Radion B Demi</vt:lpstr>
      <vt:lpstr>Radion B Thin</vt:lpstr>
      <vt:lpstr>Radion B</vt:lpstr>
      <vt:lpstr>Century Gothic</vt:lpstr>
      <vt:lpstr>Inter</vt:lpstr>
      <vt:lpstr>Cambria Math</vt:lpstr>
      <vt:lpstr>Calibri</vt:lpstr>
      <vt:lpstr>Radion B Book</vt:lpstr>
      <vt:lpstr>Radion</vt:lpstr>
      <vt:lpstr>Radion B Light</vt:lpstr>
      <vt:lpstr>Arial</vt:lpstr>
      <vt:lpstr>1_QuEra_light</vt:lpstr>
      <vt:lpstr>Intro to Neutral-atom Quantum Computing</vt:lpstr>
      <vt:lpstr>Why neutral-atom quantum processor</vt:lpstr>
      <vt:lpstr>Quantum computing == new rules!</vt:lpstr>
      <vt:lpstr>Paradigms of Q. Information processing</vt:lpstr>
      <vt:lpstr>PowerPoint Presentation</vt:lpstr>
      <vt:lpstr>Architecture: qubits by puffing-up atoms</vt:lpstr>
      <vt:lpstr>QPU cycle</vt:lpstr>
      <vt:lpstr>What qubit control really looks like:</vt:lpstr>
      <vt:lpstr>What qubit control really looks like:</vt:lpstr>
      <vt:lpstr>A neutral-atom quantum processor </vt:lpstr>
      <vt:lpstr>Analog quantum dynamics control </vt:lpstr>
      <vt:lpstr>Hardware constraints: Geometry</vt:lpstr>
      <vt:lpstr>Hardware constraints: dynamics</vt:lpstr>
      <vt:lpstr>PowerPoint Presentation</vt:lpstr>
      <vt:lpstr>Rydberg blockade: utility</vt:lpstr>
      <vt:lpstr>An algorithm for MIS</vt:lpstr>
      <vt:lpstr>MIS applications are ubiquitous</vt:lpstr>
      <vt:lpstr>Programming neutral atoms in 5 step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ssion I: Concepts</dc:title>
  <dc:creator>Pedro Lopes</dc:creator>
  <dc:description>Template by HQ Solutions</dc:description>
  <cp:lastModifiedBy>Pedro Lopes</cp:lastModifiedBy>
  <cp:revision>18</cp:revision>
  <dcterms:created xsi:type="dcterms:W3CDTF">2023-02-24T15:58:24Z</dcterms:created>
  <dcterms:modified xsi:type="dcterms:W3CDTF">2024-01-23T17:32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39B3B2693E46C4987ECCC3D8DB1A68E</vt:lpwstr>
  </property>
  <property fmtid="{D5CDD505-2E9C-101B-9397-08002B2CF9AE}" pid="3" name="MediaServiceImageTags">
    <vt:lpwstr/>
  </property>
  <property fmtid="{D5CDD505-2E9C-101B-9397-08002B2CF9AE}" pid="4" name="xd_ProgID">
    <vt:lpwstr/>
  </property>
  <property fmtid="{D5CDD505-2E9C-101B-9397-08002B2CF9AE}" pid="5" name="_SourceUrl">
    <vt:lpwstr/>
  </property>
  <property fmtid="{D5CDD505-2E9C-101B-9397-08002B2CF9AE}" pid="6" name="_SharedFileIndex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  <property fmtid="{D5CDD505-2E9C-101B-9397-08002B2CF9AE}" pid="11" name="xd_Signature">
    <vt:lpwstr/>
  </property>
</Properties>
</file>